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tif" ContentType="image/tif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slideLayouts/slideLayout4.xml" ContentType="application/vnd.openxmlformats-officedocument.presentationml.slideLayout+xml"/>
  <Override PartName="/ppt/theme/theme6.xml" ContentType="application/vnd.openxmlformats-officedocument.theme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7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8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9.xml" ContentType="application/vnd.openxmlformats-officedocument.theme+xml"/>
  <Override PartName="/ppt/theme/theme10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7" r:id="rId1"/>
    <p:sldMasterId id="2147483670" r:id="rId2"/>
    <p:sldMasterId id="2147483673" r:id="rId3"/>
    <p:sldMasterId id="2147483676" r:id="rId4"/>
    <p:sldMasterId id="2147483679" r:id="rId5"/>
    <p:sldMasterId id="2147483688" r:id="rId6"/>
    <p:sldMasterId id="2147483691" r:id="rId7"/>
    <p:sldMasterId id="2147483708" r:id="rId8"/>
    <p:sldMasterId id="2147483726" r:id="rId9"/>
  </p:sldMasterIdLst>
  <p:notesMasterIdLst>
    <p:notesMasterId r:id="rId52"/>
  </p:notesMasterIdLst>
  <p:sldIdLst>
    <p:sldId id="17151" r:id="rId10"/>
    <p:sldId id="295" r:id="rId11"/>
    <p:sldId id="296" r:id="rId12"/>
    <p:sldId id="272" r:id="rId13"/>
    <p:sldId id="1348" r:id="rId14"/>
    <p:sldId id="1349" r:id="rId15"/>
    <p:sldId id="1351" r:id="rId16"/>
    <p:sldId id="276" r:id="rId17"/>
    <p:sldId id="1260" r:id="rId18"/>
    <p:sldId id="561" r:id="rId19"/>
    <p:sldId id="562" r:id="rId20"/>
    <p:sldId id="1264" r:id="rId21"/>
    <p:sldId id="1295" r:id="rId22"/>
    <p:sldId id="1266" r:id="rId23"/>
    <p:sldId id="281" r:id="rId24"/>
    <p:sldId id="1352" r:id="rId25"/>
    <p:sldId id="984" r:id="rId26"/>
    <p:sldId id="1294" r:id="rId27"/>
    <p:sldId id="563" r:id="rId28"/>
    <p:sldId id="566" r:id="rId29"/>
    <p:sldId id="567" r:id="rId30"/>
    <p:sldId id="1296" r:id="rId31"/>
    <p:sldId id="1297" r:id="rId32"/>
    <p:sldId id="1298" r:id="rId33"/>
    <p:sldId id="1299" r:id="rId34"/>
    <p:sldId id="1300" r:id="rId35"/>
    <p:sldId id="1274" r:id="rId36"/>
    <p:sldId id="540" r:id="rId37"/>
    <p:sldId id="542" r:id="rId38"/>
    <p:sldId id="543" r:id="rId39"/>
    <p:sldId id="544" r:id="rId40"/>
    <p:sldId id="780" r:id="rId41"/>
    <p:sldId id="781" r:id="rId42"/>
    <p:sldId id="782" r:id="rId43"/>
    <p:sldId id="549" r:id="rId44"/>
    <p:sldId id="17149" r:id="rId45"/>
    <p:sldId id="550" r:id="rId46"/>
    <p:sldId id="552" r:id="rId47"/>
    <p:sldId id="553" r:id="rId48"/>
    <p:sldId id="554" r:id="rId49"/>
    <p:sldId id="555" r:id="rId50"/>
    <p:sldId id="986" r:id="rId5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6A34AC84-6D01-4448-A5A4-A46464A35886}">
          <p14:sldIdLst>
            <p14:sldId id="17151"/>
            <p14:sldId id="295"/>
            <p14:sldId id="296"/>
            <p14:sldId id="272"/>
            <p14:sldId id="1348"/>
            <p14:sldId id="1349"/>
            <p14:sldId id="1351"/>
            <p14:sldId id="276"/>
            <p14:sldId id="1260"/>
            <p14:sldId id="561"/>
            <p14:sldId id="562"/>
            <p14:sldId id="1264"/>
            <p14:sldId id="1295"/>
            <p14:sldId id="1266"/>
            <p14:sldId id="281"/>
            <p14:sldId id="1352"/>
            <p14:sldId id="984"/>
            <p14:sldId id="1294"/>
            <p14:sldId id="563"/>
            <p14:sldId id="566"/>
            <p14:sldId id="567"/>
            <p14:sldId id="1296"/>
            <p14:sldId id="1297"/>
            <p14:sldId id="1298"/>
            <p14:sldId id="1299"/>
            <p14:sldId id="1300"/>
            <p14:sldId id="1274"/>
          </p14:sldIdLst>
        </p14:section>
        <p14:section name="Раздел по умолчанию" id="{BCC12EB3-011A-43B7-AB97-EFD4637215AE}">
          <p14:sldIdLst>
            <p14:sldId id="540"/>
            <p14:sldId id="542"/>
            <p14:sldId id="543"/>
            <p14:sldId id="544"/>
            <p14:sldId id="780"/>
            <p14:sldId id="781"/>
            <p14:sldId id="782"/>
            <p14:sldId id="549"/>
            <p14:sldId id="17149"/>
            <p14:sldId id="550"/>
            <p14:sldId id="552"/>
            <p14:sldId id="553"/>
            <p14:sldId id="554"/>
            <p14:sldId id="555"/>
            <p14:sldId id="98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89DD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6" autoAdjust="0"/>
    <p:restoredTop sz="94558"/>
  </p:normalViewPr>
  <p:slideViewPr>
    <p:cSldViewPr snapToGrid="0" snapToObjects="1">
      <p:cViewPr>
        <p:scale>
          <a:sx n="40" d="100"/>
          <a:sy n="40" d="100"/>
        </p:scale>
        <p:origin x="1684" y="5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39" Type="http://schemas.openxmlformats.org/officeDocument/2006/relationships/slide" Target="slides/slide30.xml"/><Relationship Id="rId21" Type="http://schemas.openxmlformats.org/officeDocument/2006/relationships/slide" Target="slides/slide12.xml"/><Relationship Id="rId34" Type="http://schemas.openxmlformats.org/officeDocument/2006/relationships/slide" Target="slides/slide25.xml"/><Relationship Id="rId42" Type="http://schemas.openxmlformats.org/officeDocument/2006/relationships/slide" Target="slides/slide33.xml"/><Relationship Id="rId47" Type="http://schemas.openxmlformats.org/officeDocument/2006/relationships/slide" Target="slides/slide38.xml"/><Relationship Id="rId50" Type="http://schemas.openxmlformats.org/officeDocument/2006/relationships/slide" Target="slides/slide41.xml"/><Relationship Id="rId55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7.xml"/><Relationship Id="rId29" Type="http://schemas.openxmlformats.org/officeDocument/2006/relationships/slide" Target="slides/slide20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slide" Target="slides/slide23.xml"/><Relationship Id="rId37" Type="http://schemas.openxmlformats.org/officeDocument/2006/relationships/slide" Target="slides/slide28.xml"/><Relationship Id="rId40" Type="http://schemas.openxmlformats.org/officeDocument/2006/relationships/slide" Target="slides/slide31.xml"/><Relationship Id="rId45" Type="http://schemas.openxmlformats.org/officeDocument/2006/relationships/slide" Target="slides/slide36.xml"/><Relationship Id="rId53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slide" Target="slides/slide22.xml"/><Relationship Id="rId44" Type="http://schemas.openxmlformats.org/officeDocument/2006/relationships/slide" Target="slides/slide35.xml"/><Relationship Id="rId52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slide" Target="slides/slide21.xml"/><Relationship Id="rId35" Type="http://schemas.openxmlformats.org/officeDocument/2006/relationships/slide" Target="slides/slide26.xml"/><Relationship Id="rId43" Type="http://schemas.openxmlformats.org/officeDocument/2006/relationships/slide" Target="slides/slide34.xml"/><Relationship Id="rId48" Type="http://schemas.openxmlformats.org/officeDocument/2006/relationships/slide" Target="slides/slide39.xml"/><Relationship Id="rId56" Type="http://schemas.openxmlformats.org/officeDocument/2006/relationships/tableStyles" Target="tableStyles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42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slide" Target="slides/slide24.xml"/><Relationship Id="rId38" Type="http://schemas.openxmlformats.org/officeDocument/2006/relationships/slide" Target="slides/slide29.xml"/><Relationship Id="rId46" Type="http://schemas.openxmlformats.org/officeDocument/2006/relationships/slide" Target="slides/slide37.xml"/><Relationship Id="rId20" Type="http://schemas.openxmlformats.org/officeDocument/2006/relationships/slide" Target="slides/slide11.xml"/><Relationship Id="rId41" Type="http://schemas.openxmlformats.org/officeDocument/2006/relationships/slide" Target="slides/slide32.xml"/><Relationship Id="rId54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openxmlformats.org/officeDocument/2006/relationships/slide" Target="slides/slide27.xml"/><Relationship Id="rId49" Type="http://schemas.openxmlformats.org/officeDocument/2006/relationships/slide" Target="slides/slide40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E0CD50D-2A1D-2449-9DBE-D050EC7DC37C}" type="datetimeFigureOut">
              <a:rPr lang="en-US" smtClean="0"/>
              <a:t>9/2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DD8B280-315D-D24B-A20C-3E48796FABA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73212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3.xml"/><Relationship Id="rId7" Type="http://schemas.openxmlformats.org/officeDocument/2006/relationships/image" Target="../media/image3.jpe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2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6.jpe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8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8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6.xml"/><Relationship Id="rId7" Type="http://schemas.openxmlformats.org/officeDocument/2006/relationships/image" Target="../media/image3.jpe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2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6.jpeg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8.png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8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8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8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9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9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9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9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9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9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9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9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9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6519" y="997527"/>
            <a:ext cx="11686307" cy="5613071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  <a:lvl2pPr marL="914377" indent="-304792">
              <a:buFont typeface="Wingdings" pitchFamily="2" charset="2"/>
              <a:buChar char="§"/>
              <a:defRPr sz="3200">
                <a:solidFill>
                  <a:schemeClr val="tx1"/>
                </a:solidFill>
              </a:defRPr>
            </a:lvl2pPr>
            <a:lvl3pPr marL="1523962" indent="-304792">
              <a:buFont typeface="Courier New" panose="02070309020205020404" pitchFamily="49" charset="0"/>
              <a:buChar char="o"/>
              <a:defRPr sz="3200">
                <a:solidFill>
                  <a:schemeClr val="tx1"/>
                </a:solidFill>
              </a:defRPr>
            </a:lvl3pPr>
            <a:lvl4pPr marL="2133547" indent="-304792">
              <a:buFont typeface="Wingdings" pitchFamily="2" charset="2"/>
              <a:buChar char="q"/>
              <a:defRPr sz="3200">
                <a:solidFill>
                  <a:schemeClr val="tx1"/>
                </a:solidFill>
              </a:defRPr>
            </a:lvl4pPr>
            <a:lvl5pPr marL="2743131" indent="-304792">
              <a:buFont typeface="Wingdings" pitchFamily="2" charset="2"/>
              <a:buChar char="Ø"/>
              <a:defRPr sz="3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B1B327-4D8B-4363-B1F2-9ED0E4F4AAE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1003230" y="228334"/>
            <a:ext cx="10919596" cy="546229"/>
          </a:xfrm>
          <a:prstGeom prst="rect">
            <a:avLst/>
          </a:prstGeom>
        </p:spPr>
        <p:txBody>
          <a:bodyPr/>
          <a:lstStyle>
            <a:lvl1pPr>
              <a:defRPr sz="3733" b="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606031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0F4AA5DE-80FE-C145-9573-993AA70946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2226" y="503596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bg1"/>
                </a:solidFill>
                <a:latin typeface="SB Serif Display" panose="02000503000000020004" pitchFamily="50" charset="-52"/>
                <a:cs typeface="SB Serif Display" panose="02000503000000020004" pitchFamily="50" charset="-52"/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DE47B36B-61BD-0C48-A64C-7B20D2FB1AC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079" r="873" b="3774"/>
          <a:stretch/>
        </p:blipFill>
        <p:spPr>
          <a:xfrm rot="13771779">
            <a:off x="8037527" y="-642313"/>
            <a:ext cx="5682551" cy="3456622"/>
          </a:xfrm>
          <a:custGeom>
            <a:avLst/>
            <a:gdLst>
              <a:gd name="connsiteX0" fmla="*/ 4782236 w 4782236"/>
              <a:gd name="connsiteY0" fmla="*/ 0 h 2908972"/>
              <a:gd name="connsiteX1" fmla="*/ 2300341 w 4782236"/>
              <a:gd name="connsiteY1" fmla="*/ 2908972 h 2908972"/>
              <a:gd name="connsiteX2" fmla="*/ 0 w 4782236"/>
              <a:gd name="connsiteY2" fmla="*/ 946353 h 2908972"/>
              <a:gd name="connsiteX3" fmla="*/ 807415 w 4782236"/>
              <a:gd name="connsiteY3" fmla="*/ 0 h 2908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82236" h="2908972">
                <a:moveTo>
                  <a:pt x="4782236" y="0"/>
                </a:moveTo>
                <a:lnTo>
                  <a:pt x="2300341" y="2908972"/>
                </a:lnTo>
                <a:lnTo>
                  <a:pt x="0" y="946353"/>
                </a:lnTo>
                <a:lnTo>
                  <a:pt x="807415" y="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2034884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7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B1A4D9-F9F8-B841-83FC-B488675FB2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696" y="1766758"/>
            <a:ext cx="5138555" cy="1325563"/>
          </a:xfrm>
          <a:prstGeom prst="rect">
            <a:avLst/>
          </a:prstGeom>
        </p:spPr>
        <p:txBody>
          <a:bodyPr anchor="t" anchorCtr="0"/>
          <a:lstStyle>
            <a:lvl1pPr algn="l">
              <a:defRPr>
                <a:solidFill>
                  <a:schemeClr val="bg1"/>
                </a:solidFill>
                <a:latin typeface="SB Serif Display" panose="02000503000000020004" pitchFamily="50" charset="-52"/>
                <a:cs typeface="SB Serif Display" panose="02000503000000020004" pitchFamily="50" charset="-52"/>
              </a:defRPr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4076BCEE-4692-634B-A63B-DD99E1048B6B}"/>
              </a:ext>
            </a:extLst>
          </p:cNvPr>
          <p:cNvSpPr txBox="1">
            <a:spLocks/>
          </p:cNvSpPr>
          <p:nvPr userDrawn="1"/>
        </p:nvSpPr>
        <p:spPr>
          <a:xfrm>
            <a:off x="9210368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b="0" i="0" kern="1200">
                <a:solidFill>
                  <a:schemeClr val="tx1">
                    <a:tint val="75000"/>
                  </a:schemeClr>
                </a:solidFill>
                <a:latin typeface="SB Sans Display Regular" panose="020B0503040504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5FE8ADF-25A3-4B39-A1EB-43B990C73963}" type="slidenum">
              <a:rPr lang="ru-RU" smtClean="0">
                <a:solidFill>
                  <a:schemeClr val="bg1"/>
                </a:solidFill>
                <a:latin typeface="SB Serif Display" panose="02000503000000020004" pitchFamily="50" charset="-52"/>
                <a:cs typeface="SB Serif Display" panose="02000503000000020004" pitchFamily="50" charset="-52"/>
              </a:rPr>
              <a:pPr/>
              <a:t>‹#›</a:t>
            </a:fld>
            <a:endParaRPr lang="ru-RU" dirty="0">
              <a:solidFill>
                <a:schemeClr val="bg1"/>
              </a:solidFill>
              <a:latin typeface="SB Serif Display" panose="02000503000000020004" pitchFamily="50" charset="-52"/>
              <a:cs typeface="SB Serif Display" panose="02000503000000020004" pitchFamily="50" charset="-52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5391B870-19B2-CE40-B8E2-DDC2129A79A3}"/>
              </a:ext>
            </a:extLst>
          </p:cNvPr>
          <p:cNvSpPr/>
          <p:nvPr userDrawn="1"/>
        </p:nvSpPr>
        <p:spPr>
          <a:xfrm>
            <a:off x="0" y="0"/>
            <a:ext cx="7409468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8169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8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1B6CC8A6-66D6-8540-9404-70171C0A206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406786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6412FE64-B2CB-D34C-8736-FC222D130CF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165853-4D36-1943-8A9B-22198F0DA6E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0235" y="1643063"/>
            <a:ext cx="5118629" cy="463073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800">
                <a:solidFill>
                  <a:schemeClr val="bg1"/>
                </a:solidFill>
                <a:latin typeface="SB Serif Display" panose="02000503000000020004" pitchFamily="2" charset="77"/>
                <a:cs typeface="SB Serif Display" panose="02000503000000020004" pitchFamily="2" charset="77"/>
              </a:defRPr>
            </a:lvl1pPr>
            <a:lvl2pPr marL="4572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600">
                <a:solidFill>
                  <a:schemeClr val="bg1"/>
                </a:solidFill>
                <a:latin typeface="SB Serif Display" panose="02000503000000020004" pitchFamily="2" charset="77"/>
                <a:cs typeface="SB Serif Display" panose="02000503000000020004" pitchFamily="2" charset="77"/>
              </a:defRPr>
            </a:lvl2pPr>
            <a:lvl3pPr marL="9144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400">
                <a:solidFill>
                  <a:schemeClr val="bg1"/>
                </a:solidFill>
                <a:latin typeface="SB Serif Display" panose="02000503000000020004" pitchFamily="2" charset="77"/>
                <a:cs typeface="SB Serif Display" panose="02000503000000020004" pitchFamily="2" charset="77"/>
              </a:defRPr>
            </a:lvl3pPr>
            <a:lvl4pPr marL="13716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200">
                <a:solidFill>
                  <a:schemeClr val="bg1"/>
                </a:solidFill>
                <a:latin typeface="SB Serif Display" panose="02000503000000020004" pitchFamily="2" charset="77"/>
                <a:cs typeface="SB Serif Display" panose="02000503000000020004" pitchFamily="2" charset="77"/>
              </a:defRPr>
            </a:lvl4pPr>
            <a:lvl5pPr marL="18288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200">
                <a:solidFill>
                  <a:schemeClr val="bg1"/>
                </a:solidFill>
                <a:latin typeface="SB Serif Display" panose="02000503000000020004" pitchFamily="2" charset="77"/>
                <a:cs typeface="SB Serif Display" panose="02000503000000020004" pitchFamily="2" charset="77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B9226A8B-3CB8-A74D-BF01-D309E752B7D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41534" y="1643063"/>
            <a:ext cx="5118629" cy="463073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800">
                <a:solidFill>
                  <a:schemeClr val="bg1"/>
                </a:solidFill>
                <a:latin typeface="SB Serif Display" panose="02000503000000020004" pitchFamily="2" charset="77"/>
                <a:cs typeface="SB Serif Display" panose="02000503000000020004" pitchFamily="2" charset="77"/>
              </a:defRPr>
            </a:lvl1pPr>
            <a:lvl2pPr marL="4572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600">
                <a:solidFill>
                  <a:schemeClr val="bg1"/>
                </a:solidFill>
                <a:latin typeface="SB Serif Display" panose="02000503000000020004" pitchFamily="2" charset="77"/>
                <a:cs typeface="SB Serif Display" panose="02000503000000020004" pitchFamily="2" charset="77"/>
              </a:defRPr>
            </a:lvl2pPr>
            <a:lvl3pPr marL="9144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400">
                <a:solidFill>
                  <a:schemeClr val="bg1"/>
                </a:solidFill>
                <a:latin typeface="SB Serif Display" panose="02000503000000020004" pitchFamily="2" charset="77"/>
                <a:cs typeface="SB Serif Display" panose="02000503000000020004" pitchFamily="2" charset="77"/>
              </a:defRPr>
            </a:lvl3pPr>
            <a:lvl4pPr marL="13716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200">
                <a:solidFill>
                  <a:schemeClr val="bg1"/>
                </a:solidFill>
                <a:latin typeface="SB Serif Display" panose="02000503000000020004" pitchFamily="2" charset="77"/>
                <a:cs typeface="SB Serif Display" panose="02000503000000020004" pitchFamily="2" charset="77"/>
              </a:defRPr>
            </a:lvl4pPr>
            <a:lvl5pPr marL="18288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200">
                <a:solidFill>
                  <a:schemeClr val="bg1"/>
                </a:solidFill>
                <a:latin typeface="SB Serif Display" panose="02000503000000020004" pitchFamily="2" charset="77"/>
                <a:cs typeface="SB Serif Display" panose="02000503000000020004" pitchFamily="2" charset="77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65B6BD5D-AA5F-9445-A8E3-C776FA21400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51" y="56766"/>
            <a:ext cx="2913897" cy="1639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26831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3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165853-4D36-1943-8A9B-22198F0DA6E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0239" y="1643063"/>
            <a:ext cx="3374494" cy="463073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1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1pPr>
            <a:lvl2pPr marL="4572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05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2pPr>
            <a:lvl3pPr marL="9144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0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3pPr>
            <a:lvl4pPr marL="13716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9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4pPr>
            <a:lvl5pPr marL="18288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9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5231ADFA-B54C-AB43-82C8-00016CA7FDB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7154" y="1643063"/>
            <a:ext cx="3374494" cy="463073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1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1pPr>
            <a:lvl2pPr marL="4572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05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2pPr>
            <a:lvl3pPr marL="9144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0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3pPr>
            <a:lvl4pPr marL="13716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9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4pPr>
            <a:lvl5pPr marL="18288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9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D7AAE23-FB81-344D-9421-B420B52CB8F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984069" y="1643063"/>
            <a:ext cx="3374494" cy="463073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1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1pPr>
            <a:lvl2pPr marL="4572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05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2pPr>
            <a:lvl3pPr marL="9144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0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3pPr>
            <a:lvl4pPr marL="13716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9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4pPr>
            <a:lvl5pPr marL="18288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9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55D2506A-4ED4-6B4B-B0D8-880F93485A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2226" y="503596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bg1"/>
                </a:solidFill>
                <a:latin typeface="SB Serif Display" panose="02000503000000020004" pitchFamily="50" charset="-52"/>
                <a:cs typeface="SB Serif Display" panose="02000503000000020004" pitchFamily="50" charset="-52"/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0E2D5FD4-FBF3-AD41-8F5A-67BA3CFA7BC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21384" b="31255"/>
          <a:stretch/>
        </p:blipFill>
        <p:spPr>
          <a:xfrm>
            <a:off x="7841346" y="4873746"/>
            <a:ext cx="4346300" cy="19711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53982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4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165853-4D36-1943-8A9B-22198F0DA6E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0238" y="1643063"/>
            <a:ext cx="6327024" cy="463073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4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1pPr>
            <a:lvl2pPr marL="4572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2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2pPr>
            <a:lvl3pPr marL="9144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1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3pPr>
            <a:lvl4pPr marL="13716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05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4pPr>
            <a:lvl5pPr marL="18288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05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D7AAE23-FB81-344D-9421-B420B52CB8F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102600" y="1860370"/>
            <a:ext cx="2882900" cy="402114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800" b="0" i="0">
                <a:solidFill>
                  <a:schemeClr val="bg1"/>
                </a:solidFill>
                <a:latin typeface="SB Serif Display" panose="02000503000000020004" pitchFamily="2" charset="77"/>
                <a:cs typeface="SB Serif Display" panose="02000503000000020004" pitchFamily="2" charset="77"/>
              </a:defRPr>
            </a:lvl1pPr>
            <a:lvl2pPr marL="4572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800">
                <a:latin typeface="SB Sans Text" panose="020B0503040504020204" pitchFamily="34" charset="77"/>
                <a:cs typeface="SB Sans Text" panose="020B0503040504020204" pitchFamily="34" charset="77"/>
              </a:defRPr>
            </a:lvl2pPr>
            <a:lvl3pPr marL="9144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800">
                <a:latin typeface="SB Sans Text" panose="020B0503040504020204" pitchFamily="34" charset="77"/>
                <a:cs typeface="SB Sans Text" panose="020B0503040504020204" pitchFamily="34" charset="77"/>
              </a:defRPr>
            </a:lvl3pPr>
            <a:lvl4pPr marL="13716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800">
                <a:latin typeface="SB Sans Text" panose="020B0503040504020204" pitchFamily="34" charset="77"/>
                <a:cs typeface="SB Sans Text" panose="020B0503040504020204" pitchFamily="34" charset="77"/>
              </a:defRPr>
            </a:lvl4pPr>
            <a:lvl5pPr marL="18288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800">
                <a:latin typeface="SB Sans Text" panose="020B0503040504020204" pitchFamily="34" charset="77"/>
                <a:cs typeface="SB Sans Text" panose="020B0503040504020204" pitchFamily="34" charset="77"/>
              </a:defRPr>
            </a:lvl5pPr>
          </a:lstStyle>
          <a:p>
            <a:pPr lvl="0"/>
            <a:r>
              <a:rPr lang="en-US" dirty="0"/>
              <a:t>Edit Master text styles</a:t>
            </a:r>
            <a:endParaRPr lang="ru-RU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3785A9E5-742C-574E-9734-C24EC86EF7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2226" y="503596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bg1"/>
                </a:solidFill>
                <a:latin typeface="SB Serif Display" panose="02000503000000020004" pitchFamily="50" charset="-52"/>
                <a:cs typeface="SB Serif Display" panose="02000503000000020004" pitchFamily="50" charset="-52"/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FDA30490-3536-F142-80E3-5781A85DB4F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197716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5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2D5CEAA4-819F-5B40-B969-7DE37E847A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2226" y="503596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bg1"/>
                </a:solidFill>
                <a:latin typeface="SB Serif Display" panose="02000503000000020004" pitchFamily="50" charset="-52"/>
                <a:cs typeface="SB Serif Display" panose="02000503000000020004" pitchFamily="50" charset="-52"/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6B5DE7FF-E635-A040-A1DF-DE6045737D7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385877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0925952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1050470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6B5DE7FF-E635-A040-A1DF-DE6045737D7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19258" b="31255"/>
          <a:stretch/>
        </p:blipFill>
        <p:spPr>
          <a:xfrm>
            <a:off x="7736842" y="4873746"/>
            <a:ext cx="4463868" cy="19711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18830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" y="0"/>
          <a:ext cx="215979" cy="1619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215979" cy="1619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148575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16" dirty="0">
              <a:cs typeface="Arial"/>
            </a:endParaRPr>
          </a:p>
        </p:txBody>
      </p:sp>
      <p:sp>
        <p:nvSpPr>
          <p:cNvPr id="21" name="Rectangle 1027" hidden="1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3991293" y="5021963"/>
            <a:ext cx="7192092" cy="2827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ru-RU"/>
            </a:defPPr>
            <a:lvl1pPr marL="0" defTabSz="931977" eaLnBrk="1" latinLnBrk="0" hangingPunct="1">
              <a:defRPr b="1">
                <a:solidFill>
                  <a:srgbClr val="FFFFFF"/>
                </a:solidFill>
                <a:cs typeface="Arial" charset="0"/>
              </a:defRPr>
            </a:lvl1pPr>
            <a:lvl2pPr marL="742950" indent="-285750" defTabSz="914012" eaLnBrk="0" latinLnBrk="0" hangingPunct="0">
              <a:defRPr sz="1000">
                <a:cs typeface="Arial" charset="0"/>
              </a:defRPr>
            </a:lvl2pPr>
            <a:lvl3pPr marL="1143000" indent="-228600" defTabSz="914012" eaLnBrk="0" latinLnBrk="0" hangingPunct="0">
              <a:defRPr sz="1000">
                <a:cs typeface="Arial" charset="0"/>
              </a:defRPr>
            </a:lvl3pPr>
            <a:lvl4pPr marL="1600200" indent="-228600" defTabSz="914012" eaLnBrk="0" latinLnBrk="0" hangingPunct="0">
              <a:defRPr sz="1000">
                <a:cs typeface="Arial" charset="0"/>
              </a:defRPr>
            </a:lvl4pPr>
            <a:lvl5pPr marL="2057400" indent="-228600" defTabSz="914012" eaLnBrk="0" latinLnBrk="0" hangingPunct="0">
              <a:defRPr sz="1000">
                <a:cs typeface="Arial" charset="0"/>
              </a:defRPr>
            </a:lvl5pPr>
            <a:lvl6pPr marL="25146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6pPr>
            <a:lvl7pPr marL="29718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7pPr>
            <a:lvl8pPr marL="34290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8pPr>
            <a:lvl9pPr marL="38862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9pPr>
          </a:lstStyle>
          <a:p>
            <a:pPr lvl="0"/>
            <a:r>
              <a:rPr lang="en-US" sz="1837" dirty="0"/>
              <a:t>Click to edit Master subtitle style</a:t>
            </a:r>
          </a:p>
        </p:txBody>
      </p:sp>
      <p:pic>
        <p:nvPicPr>
          <p:cNvPr id="12" name="Picture 286" descr="cid:image003.jpg@01D1F98A.C035CF1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22015" y="4684154"/>
            <a:ext cx="6453899" cy="21727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Прямоугольник 7"/>
          <p:cNvSpPr/>
          <p:nvPr userDrawn="1"/>
        </p:nvSpPr>
        <p:spPr>
          <a:xfrm>
            <a:off x="6578885" y="42560"/>
            <a:ext cx="4087435" cy="154519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3268" tIns="46635" rIns="93268" bIns="46635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632" dirty="0" err="1">
              <a:solidFill>
                <a:schemeClr val="tx1"/>
              </a:solidFill>
            </a:endParaRPr>
          </a:p>
        </p:txBody>
      </p:sp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2083" y="305473"/>
            <a:ext cx="1015845" cy="10193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16" name="Straight Connector 9"/>
          <p:cNvCxnSpPr/>
          <p:nvPr userDrawn="1"/>
        </p:nvCxnSpPr>
        <p:spPr>
          <a:xfrm flipV="1">
            <a:off x="2030705" y="1303175"/>
            <a:ext cx="8805981" cy="20544"/>
          </a:xfrm>
          <a:prstGeom prst="line">
            <a:avLst/>
          </a:prstGeom>
          <a:noFill/>
          <a:ln w="25400" cap="flat" cmpd="sng" algn="ctr">
            <a:solidFill>
              <a:srgbClr val="C6DE27"/>
            </a:solidFill>
            <a:prstDash val="solid"/>
          </a:ln>
          <a:effectLst/>
        </p:spPr>
      </p:cxnSp>
      <p:pic>
        <p:nvPicPr>
          <p:cNvPr id="17" name="Picture 297"/>
          <p:cNvPicPr>
            <a:picLocks noChangeAspect="1" noChangeArrowheads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12717" y="191092"/>
            <a:ext cx="3390308" cy="22652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Изображение 6"/>
          <p:cNvPicPr>
            <a:picLocks noChangeAspect="1"/>
          </p:cNvPicPr>
          <p:nvPr userDrawn="1"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5794"/>
            <a:ext cx="12192000" cy="5135180"/>
          </a:xfrm>
          <a:prstGeom prst="rect">
            <a:avLst/>
          </a:prstGeom>
        </p:spPr>
      </p:pic>
      <p:sp>
        <p:nvSpPr>
          <p:cNvPr id="13" name="Прямоугольник 5"/>
          <p:cNvSpPr/>
          <p:nvPr userDrawn="1"/>
        </p:nvSpPr>
        <p:spPr>
          <a:xfrm>
            <a:off x="0" y="3727955"/>
            <a:ext cx="12192000" cy="3140968"/>
          </a:xfrm>
          <a:prstGeom prst="rect">
            <a:avLst/>
          </a:prstGeom>
          <a:gradFill flip="none" rotWithShape="1">
            <a:gsLst>
              <a:gs pos="0">
                <a:srgbClr val="339966">
                  <a:shade val="30000"/>
                  <a:satMod val="115000"/>
                </a:srgbClr>
              </a:gs>
              <a:gs pos="50000">
                <a:srgbClr val="339966">
                  <a:shade val="67500"/>
                  <a:satMod val="115000"/>
                </a:srgbClr>
              </a:gs>
              <a:gs pos="100000">
                <a:srgbClr val="339966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pic>
        <p:nvPicPr>
          <p:cNvPr id="18" name="Изображение 9"/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5229" y="-6067"/>
            <a:ext cx="1749616" cy="1712947"/>
          </a:xfrm>
          <a:prstGeom prst="rect">
            <a:avLst/>
          </a:prstGeom>
        </p:spPr>
      </p:pic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08493" y="3784238"/>
            <a:ext cx="11678977" cy="288994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3171621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3281755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383C8DA4-66FA-0C4A-B9C4-294394D8242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7D36AD7-1AB0-6945-AAAA-F2A9B6C319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25884747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7580B0BA-E596-8540-B486-F747F0C3AA5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77798090-64AE-374F-A5DC-E861110F0A7E}"/>
              </a:ext>
            </a:extLst>
          </p:cNvPr>
          <p:cNvSpPr/>
          <p:nvPr userDrawn="1"/>
        </p:nvSpPr>
        <p:spPr>
          <a:xfrm rot="10800000">
            <a:off x="1862666" y="801511"/>
            <a:ext cx="2528712" cy="5260622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9868D7AA-469A-F449-8BDE-ABB87DCA4B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4696" y="530677"/>
            <a:ext cx="2991442" cy="5796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775612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7E43891C-D2E9-4E47-B39A-50897C511C1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7E9ED42B-06C9-E743-852A-04ED23B013C3}"/>
              </a:ext>
            </a:extLst>
          </p:cNvPr>
          <p:cNvSpPr/>
          <p:nvPr userDrawn="1"/>
        </p:nvSpPr>
        <p:spPr>
          <a:xfrm rot="10800000">
            <a:off x="6096000" y="801511"/>
            <a:ext cx="2528712" cy="5260622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09DB52A2-F7F1-9C4D-9A6E-2CC74FBD6AB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4635" y="530677"/>
            <a:ext cx="2991442" cy="5796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76654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BADD8343-5F58-254F-A13A-CB138B5B3D2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89A2B80D-311F-D042-86AB-C8200D7130E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3912" y="711770"/>
            <a:ext cx="4135483" cy="5644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004797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31BD5DA9-EEE2-6D47-8773-9172C8781E7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098A0610-D36C-3E44-8C1B-A5CFD059304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4282" y="1226799"/>
            <a:ext cx="8126494" cy="4628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859946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0F4AA5DE-80FE-C145-9573-993AA70946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2226" y="503596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bg1"/>
                </a:solidFill>
                <a:latin typeface="SB Serif Display" panose="02000503000000020004" pitchFamily="50" charset="-52"/>
                <a:cs typeface="SB Serif Display" panose="02000503000000020004" pitchFamily="50" charset="-52"/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DE47B36B-61BD-0C48-A64C-7B20D2FB1AC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079" r="873" b="3774"/>
          <a:stretch/>
        </p:blipFill>
        <p:spPr>
          <a:xfrm rot="13771779">
            <a:off x="8037527" y="-642313"/>
            <a:ext cx="5682551" cy="3456622"/>
          </a:xfrm>
          <a:custGeom>
            <a:avLst/>
            <a:gdLst>
              <a:gd name="connsiteX0" fmla="*/ 4782236 w 4782236"/>
              <a:gd name="connsiteY0" fmla="*/ 0 h 2908972"/>
              <a:gd name="connsiteX1" fmla="*/ 2300341 w 4782236"/>
              <a:gd name="connsiteY1" fmla="*/ 2908972 h 2908972"/>
              <a:gd name="connsiteX2" fmla="*/ 0 w 4782236"/>
              <a:gd name="connsiteY2" fmla="*/ 946353 h 2908972"/>
              <a:gd name="connsiteX3" fmla="*/ 807415 w 4782236"/>
              <a:gd name="connsiteY3" fmla="*/ 0 h 2908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82236" h="2908972">
                <a:moveTo>
                  <a:pt x="4782236" y="0"/>
                </a:moveTo>
                <a:lnTo>
                  <a:pt x="2300341" y="2908972"/>
                </a:lnTo>
                <a:lnTo>
                  <a:pt x="0" y="946353"/>
                </a:lnTo>
                <a:lnTo>
                  <a:pt x="807415" y="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1604156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7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B1A4D9-F9F8-B841-83FC-B488675FB2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696" y="1766758"/>
            <a:ext cx="5138555" cy="1325563"/>
          </a:xfrm>
          <a:prstGeom prst="rect">
            <a:avLst/>
          </a:prstGeom>
        </p:spPr>
        <p:txBody>
          <a:bodyPr anchor="t" anchorCtr="0"/>
          <a:lstStyle>
            <a:lvl1pPr algn="l">
              <a:defRPr>
                <a:solidFill>
                  <a:schemeClr val="bg1"/>
                </a:solidFill>
                <a:latin typeface="SB Serif Display" panose="02000503000000020004" pitchFamily="50" charset="-52"/>
                <a:cs typeface="SB Serif Display" panose="02000503000000020004" pitchFamily="50" charset="-52"/>
              </a:defRPr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4076BCEE-4692-634B-A63B-DD99E1048B6B}"/>
              </a:ext>
            </a:extLst>
          </p:cNvPr>
          <p:cNvSpPr txBox="1">
            <a:spLocks/>
          </p:cNvSpPr>
          <p:nvPr userDrawn="1"/>
        </p:nvSpPr>
        <p:spPr>
          <a:xfrm>
            <a:off x="9210368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b="0" i="0" kern="1200">
                <a:solidFill>
                  <a:schemeClr val="tx1">
                    <a:tint val="75000"/>
                  </a:schemeClr>
                </a:solidFill>
                <a:latin typeface="SB Sans Display Regular" panose="020B0503040504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5FE8ADF-25A3-4B39-A1EB-43B990C73963}" type="slidenum">
              <a:rPr lang="ru-RU" smtClean="0">
                <a:solidFill>
                  <a:schemeClr val="bg1"/>
                </a:solidFill>
                <a:latin typeface="SB Serif Display" panose="02000503000000020004" pitchFamily="50" charset="-52"/>
                <a:cs typeface="SB Serif Display" panose="02000503000000020004" pitchFamily="50" charset="-52"/>
              </a:rPr>
              <a:pPr/>
              <a:t>‹#›</a:t>
            </a:fld>
            <a:endParaRPr lang="ru-RU" dirty="0">
              <a:solidFill>
                <a:schemeClr val="bg1"/>
              </a:solidFill>
              <a:latin typeface="SB Serif Display" panose="02000503000000020004" pitchFamily="50" charset="-52"/>
              <a:cs typeface="SB Serif Display" panose="02000503000000020004" pitchFamily="50" charset="-52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5391B870-19B2-CE40-B8E2-DDC2129A79A3}"/>
              </a:ext>
            </a:extLst>
          </p:cNvPr>
          <p:cNvSpPr/>
          <p:nvPr userDrawn="1"/>
        </p:nvSpPr>
        <p:spPr>
          <a:xfrm>
            <a:off x="0" y="0"/>
            <a:ext cx="7409468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68482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8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1B6CC8A6-66D6-8540-9404-70171C0A206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556815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6412FE64-B2CB-D34C-8736-FC222D130CF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165853-4D36-1943-8A9B-22198F0DA6E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0235" y="1643063"/>
            <a:ext cx="5118629" cy="463073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800">
                <a:solidFill>
                  <a:schemeClr val="bg1"/>
                </a:solidFill>
                <a:latin typeface="SB Serif Display" panose="02000503000000020004" pitchFamily="2" charset="77"/>
                <a:cs typeface="SB Serif Display" panose="02000503000000020004" pitchFamily="2" charset="77"/>
              </a:defRPr>
            </a:lvl1pPr>
            <a:lvl2pPr marL="4572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600">
                <a:solidFill>
                  <a:schemeClr val="bg1"/>
                </a:solidFill>
                <a:latin typeface="SB Serif Display" panose="02000503000000020004" pitchFamily="2" charset="77"/>
                <a:cs typeface="SB Serif Display" panose="02000503000000020004" pitchFamily="2" charset="77"/>
              </a:defRPr>
            </a:lvl2pPr>
            <a:lvl3pPr marL="9144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400">
                <a:solidFill>
                  <a:schemeClr val="bg1"/>
                </a:solidFill>
                <a:latin typeface="SB Serif Display" panose="02000503000000020004" pitchFamily="2" charset="77"/>
                <a:cs typeface="SB Serif Display" panose="02000503000000020004" pitchFamily="2" charset="77"/>
              </a:defRPr>
            </a:lvl3pPr>
            <a:lvl4pPr marL="13716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200">
                <a:solidFill>
                  <a:schemeClr val="bg1"/>
                </a:solidFill>
                <a:latin typeface="SB Serif Display" panose="02000503000000020004" pitchFamily="2" charset="77"/>
                <a:cs typeface="SB Serif Display" panose="02000503000000020004" pitchFamily="2" charset="77"/>
              </a:defRPr>
            </a:lvl4pPr>
            <a:lvl5pPr marL="18288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200">
                <a:solidFill>
                  <a:schemeClr val="bg1"/>
                </a:solidFill>
                <a:latin typeface="SB Serif Display" panose="02000503000000020004" pitchFamily="2" charset="77"/>
                <a:cs typeface="SB Serif Display" panose="02000503000000020004" pitchFamily="2" charset="77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B9226A8B-3CB8-A74D-BF01-D309E752B7D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41534" y="1643063"/>
            <a:ext cx="5118629" cy="463073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800">
                <a:solidFill>
                  <a:schemeClr val="bg1"/>
                </a:solidFill>
                <a:latin typeface="SB Serif Display" panose="02000503000000020004" pitchFamily="2" charset="77"/>
                <a:cs typeface="SB Serif Display" panose="02000503000000020004" pitchFamily="2" charset="77"/>
              </a:defRPr>
            </a:lvl1pPr>
            <a:lvl2pPr marL="4572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600">
                <a:solidFill>
                  <a:schemeClr val="bg1"/>
                </a:solidFill>
                <a:latin typeface="SB Serif Display" panose="02000503000000020004" pitchFamily="2" charset="77"/>
                <a:cs typeface="SB Serif Display" panose="02000503000000020004" pitchFamily="2" charset="77"/>
              </a:defRPr>
            </a:lvl2pPr>
            <a:lvl3pPr marL="9144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400">
                <a:solidFill>
                  <a:schemeClr val="bg1"/>
                </a:solidFill>
                <a:latin typeface="SB Serif Display" panose="02000503000000020004" pitchFamily="2" charset="77"/>
                <a:cs typeface="SB Serif Display" panose="02000503000000020004" pitchFamily="2" charset="77"/>
              </a:defRPr>
            </a:lvl3pPr>
            <a:lvl4pPr marL="13716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200">
                <a:solidFill>
                  <a:schemeClr val="bg1"/>
                </a:solidFill>
                <a:latin typeface="SB Serif Display" panose="02000503000000020004" pitchFamily="2" charset="77"/>
                <a:cs typeface="SB Serif Display" panose="02000503000000020004" pitchFamily="2" charset="77"/>
              </a:defRPr>
            </a:lvl4pPr>
            <a:lvl5pPr marL="18288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200">
                <a:solidFill>
                  <a:schemeClr val="bg1"/>
                </a:solidFill>
                <a:latin typeface="SB Serif Display" panose="02000503000000020004" pitchFamily="2" charset="77"/>
                <a:cs typeface="SB Serif Display" panose="02000503000000020004" pitchFamily="2" charset="77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65B6BD5D-AA5F-9445-A8E3-C776FA21400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51" y="56766"/>
            <a:ext cx="2913897" cy="1639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64021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" y="0"/>
          <a:ext cx="215979" cy="1619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215979" cy="1619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148575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4377" eaLnBrk="1" hangingPunct="1">
              <a:defRPr/>
            </a:pPr>
            <a:endParaRPr lang="ru-RU" sz="816" dirty="0">
              <a:solidFill>
                <a:prstClr val="black"/>
              </a:solidFill>
              <a:cs typeface="Arial"/>
            </a:endParaRPr>
          </a:p>
        </p:txBody>
      </p:sp>
      <p:sp>
        <p:nvSpPr>
          <p:cNvPr id="21" name="Rectangle 1027" hidden="1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3991293" y="5021963"/>
            <a:ext cx="7192092" cy="2827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ru-RU"/>
            </a:defPPr>
            <a:lvl1pPr marL="0" defTabSz="931977" eaLnBrk="1" latinLnBrk="0" hangingPunct="1">
              <a:defRPr b="1">
                <a:solidFill>
                  <a:srgbClr val="FFFFFF"/>
                </a:solidFill>
                <a:cs typeface="Arial" charset="0"/>
              </a:defRPr>
            </a:lvl1pPr>
            <a:lvl2pPr marL="742950" indent="-285750" defTabSz="914012" eaLnBrk="0" latinLnBrk="0" hangingPunct="0">
              <a:defRPr sz="1000">
                <a:cs typeface="Arial" charset="0"/>
              </a:defRPr>
            </a:lvl2pPr>
            <a:lvl3pPr marL="1143000" indent="-228600" defTabSz="914012" eaLnBrk="0" latinLnBrk="0" hangingPunct="0">
              <a:defRPr sz="1000">
                <a:cs typeface="Arial" charset="0"/>
              </a:defRPr>
            </a:lvl3pPr>
            <a:lvl4pPr marL="1600200" indent="-228600" defTabSz="914012" eaLnBrk="0" latinLnBrk="0" hangingPunct="0">
              <a:defRPr sz="1000">
                <a:cs typeface="Arial" charset="0"/>
              </a:defRPr>
            </a:lvl4pPr>
            <a:lvl5pPr marL="2057400" indent="-228600" defTabSz="914012" eaLnBrk="0" latinLnBrk="0" hangingPunct="0">
              <a:defRPr sz="1000">
                <a:cs typeface="Arial" charset="0"/>
              </a:defRPr>
            </a:lvl5pPr>
            <a:lvl6pPr marL="25146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6pPr>
            <a:lvl7pPr marL="29718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7pPr>
            <a:lvl8pPr marL="34290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8pPr>
            <a:lvl9pPr marL="38862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9pPr>
          </a:lstStyle>
          <a:p>
            <a:r>
              <a:rPr lang="en-US" sz="1837" dirty="0"/>
              <a:t>Click to edit Master subtitle style</a:t>
            </a:r>
          </a:p>
        </p:txBody>
      </p:sp>
      <p:pic>
        <p:nvPicPr>
          <p:cNvPr id="12" name="Picture 286" descr="cid:image003.jpg@01D1F98A.C035CF1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22015" y="4684154"/>
            <a:ext cx="6453899" cy="21727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Прямоугольник 7"/>
          <p:cNvSpPr/>
          <p:nvPr userDrawn="1"/>
        </p:nvSpPr>
        <p:spPr>
          <a:xfrm>
            <a:off x="6578885" y="42560"/>
            <a:ext cx="4087435" cy="154519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3268" tIns="46635" rIns="93268" bIns="46635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7"/>
            <a:endParaRPr lang="ru-RU" sz="1632" dirty="0" err="1">
              <a:solidFill>
                <a:prstClr val="black"/>
              </a:solidFill>
            </a:endParaRPr>
          </a:p>
        </p:txBody>
      </p:sp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2083" y="305473"/>
            <a:ext cx="1015845" cy="10193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16" name="Straight Connector 9"/>
          <p:cNvCxnSpPr/>
          <p:nvPr userDrawn="1"/>
        </p:nvCxnSpPr>
        <p:spPr>
          <a:xfrm flipV="1">
            <a:off x="2030705" y="1303175"/>
            <a:ext cx="8805981" cy="20544"/>
          </a:xfrm>
          <a:prstGeom prst="line">
            <a:avLst/>
          </a:prstGeom>
          <a:noFill/>
          <a:ln w="25400" cap="flat" cmpd="sng" algn="ctr">
            <a:solidFill>
              <a:srgbClr val="C6DE27"/>
            </a:solidFill>
            <a:prstDash val="solid"/>
          </a:ln>
          <a:effectLst/>
        </p:spPr>
      </p:cxnSp>
      <p:pic>
        <p:nvPicPr>
          <p:cNvPr id="17" name="Picture 297"/>
          <p:cNvPicPr>
            <a:picLocks noChangeAspect="1" noChangeArrowheads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12717" y="191092"/>
            <a:ext cx="3390308" cy="22652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Изображение 6"/>
          <p:cNvPicPr>
            <a:picLocks noChangeAspect="1"/>
          </p:cNvPicPr>
          <p:nvPr userDrawn="1"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5794"/>
            <a:ext cx="12192000" cy="5135180"/>
          </a:xfrm>
          <a:prstGeom prst="rect">
            <a:avLst/>
          </a:prstGeom>
        </p:spPr>
      </p:pic>
      <p:sp>
        <p:nvSpPr>
          <p:cNvPr id="13" name="Прямоугольник 5"/>
          <p:cNvSpPr/>
          <p:nvPr userDrawn="1"/>
        </p:nvSpPr>
        <p:spPr>
          <a:xfrm>
            <a:off x="0" y="3727955"/>
            <a:ext cx="12192000" cy="3140968"/>
          </a:xfrm>
          <a:prstGeom prst="rect">
            <a:avLst/>
          </a:prstGeom>
          <a:gradFill flip="none" rotWithShape="1">
            <a:gsLst>
              <a:gs pos="0">
                <a:srgbClr val="339966">
                  <a:shade val="30000"/>
                  <a:satMod val="115000"/>
                </a:srgbClr>
              </a:gs>
              <a:gs pos="50000">
                <a:srgbClr val="339966">
                  <a:shade val="67500"/>
                  <a:satMod val="115000"/>
                </a:srgbClr>
              </a:gs>
              <a:gs pos="100000">
                <a:srgbClr val="339966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ru-RU" sz="1800">
              <a:solidFill>
                <a:prstClr val="white"/>
              </a:solidFill>
            </a:endParaRPr>
          </a:p>
        </p:txBody>
      </p:sp>
      <p:pic>
        <p:nvPicPr>
          <p:cNvPr id="18" name="Изображение 9"/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5229" y="-6067"/>
            <a:ext cx="1749616" cy="1712947"/>
          </a:xfrm>
          <a:prstGeom prst="rect">
            <a:avLst/>
          </a:prstGeom>
        </p:spPr>
      </p:pic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179295" y="3884137"/>
            <a:ext cx="11708175" cy="279004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609585" indent="0">
              <a:buNone/>
              <a:defRPr sz="3200">
                <a:solidFill>
                  <a:schemeClr val="bg1"/>
                </a:solidFill>
              </a:defRPr>
            </a:lvl2pPr>
            <a:lvl3pPr marL="1219170" indent="0">
              <a:buNone/>
              <a:defRPr sz="3200">
                <a:solidFill>
                  <a:schemeClr val="bg1"/>
                </a:solidFill>
              </a:defRPr>
            </a:lvl3pPr>
            <a:lvl4pPr marL="1828754" indent="0">
              <a:buNone/>
              <a:defRPr sz="3200">
                <a:solidFill>
                  <a:schemeClr val="bg1"/>
                </a:solidFill>
              </a:defRPr>
            </a:lvl4pPr>
            <a:lvl5pPr marL="2438339" indent="0">
              <a:buNone/>
              <a:defRPr sz="3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7273603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3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165853-4D36-1943-8A9B-22198F0DA6E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0239" y="1643063"/>
            <a:ext cx="3374494" cy="463073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1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1pPr>
            <a:lvl2pPr marL="4572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05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2pPr>
            <a:lvl3pPr marL="9144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0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3pPr>
            <a:lvl4pPr marL="13716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9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4pPr>
            <a:lvl5pPr marL="18288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9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5231ADFA-B54C-AB43-82C8-00016CA7FDB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7154" y="1643063"/>
            <a:ext cx="3374494" cy="463073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1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1pPr>
            <a:lvl2pPr marL="4572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05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2pPr>
            <a:lvl3pPr marL="9144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0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3pPr>
            <a:lvl4pPr marL="13716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9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4pPr>
            <a:lvl5pPr marL="18288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9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D7AAE23-FB81-344D-9421-B420B52CB8F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984069" y="1643063"/>
            <a:ext cx="3374494" cy="463073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1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1pPr>
            <a:lvl2pPr marL="4572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05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2pPr>
            <a:lvl3pPr marL="9144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0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3pPr>
            <a:lvl4pPr marL="13716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9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4pPr>
            <a:lvl5pPr marL="18288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9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55D2506A-4ED4-6B4B-B0D8-880F93485A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2226" y="503596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bg1"/>
                </a:solidFill>
                <a:latin typeface="SB Serif Display" panose="02000503000000020004" pitchFamily="50" charset="-52"/>
                <a:cs typeface="SB Serif Display" panose="02000503000000020004" pitchFamily="50" charset="-52"/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0E2D5FD4-FBF3-AD41-8F5A-67BA3CFA7BC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21384" b="31255"/>
          <a:stretch/>
        </p:blipFill>
        <p:spPr>
          <a:xfrm>
            <a:off x="7841346" y="4873746"/>
            <a:ext cx="4346300" cy="19711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04713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4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165853-4D36-1943-8A9B-22198F0DA6E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0238" y="1643063"/>
            <a:ext cx="6327024" cy="463073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4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1pPr>
            <a:lvl2pPr marL="4572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2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2pPr>
            <a:lvl3pPr marL="9144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10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3pPr>
            <a:lvl4pPr marL="13716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05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4pPr>
            <a:lvl5pPr marL="18288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050">
                <a:solidFill>
                  <a:schemeClr val="bg1"/>
                </a:solidFill>
                <a:latin typeface="SB Serif Text" panose="02000503000000020004" pitchFamily="2" charset="77"/>
                <a:cs typeface="SB Serif Text" panose="02000503000000020004" pitchFamily="2" charset="77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D7AAE23-FB81-344D-9421-B420B52CB8F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102600" y="1860370"/>
            <a:ext cx="2882900" cy="402114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800" b="0" i="0">
                <a:solidFill>
                  <a:schemeClr val="bg1"/>
                </a:solidFill>
                <a:latin typeface="SB Serif Display" panose="02000503000000020004" pitchFamily="2" charset="77"/>
                <a:cs typeface="SB Serif Display" panose="02000503000000020004" pitchFamily="2" charset="77"/>
              </a:defRPr>
            </a:lvl1pPr>
            <a:lvl2pPr marL="4572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800">
                <a:latin typeface="SB Sans Text" panose="020B0503040504020204" pitchFamily="34" charset="77"/>
                <a:cs typeface="SB Sans Text" panose="020B0503040504020204" pitchFamily="34" charset="77"/>
              </a:defRPr>
            </a:lvl2pPr>
            <a:lvl3pPr marL="9144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800">
                <a:latin typeface="SB Sans Text" panose="020B0503040504020204" pitchFamily="34" charset="77"/>
                <a:cs typeface="SB Sans Text" panose="020B0503040504020204" pitchFamily="34" charset="77"/>
              </a:defRPr>
            </a:lvl3pPr>
            <a:lvl4pPr marL="13716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800">
                <a:latin typeface="SB Sans Text" panose="020B0503040504020204" pitchFamily="34" charset="77"/>
                <a:cs typeface="SB Sans Text" panose="020B0503040504020204" pitchFamily="34" charset="77"/>
              </a:defRPr>
            </a:lvl4pPr>
            <a:lvl5pPr marL="1828800" indent="0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None/>
              <a:defRPr sz="1800">
                <a:latin typeface="SB Sans Text" panose="020B0503040504020204" pitchFamily="34" charset="77"/>
                <a:cs typeface="SB Sans Text" panose="020B0503040504020204" pitchFamily="34" charset="77"/>
              </a:defRPr>
            </a:lvl5pPr>
          </a:lstStyle>
          <a:p>
            <a:pPr lvl="0"/>
            <a:r>
              <a:rPr lang="en-US" dirty="0"/>
              <a:t>Edit Master text styles</a:t>
            </a:r>
            <a:endParaRPr lang="ru-RU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3785A9E5-742C-574E-9734-C24EC86EF7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2226" y="503596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bg1"/>
                </a:solidFill>
                <a:latin typeface="SB Serif Display" panose="02000503000000020004" pitchFamily="50" charset="-52"/>
                <a:cs typeface="SB Serif Display" panose="02000503000000020004" pitchFamily="50" charset="-52"/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FDA30490-3536-F142-80E3-5781A85DB4F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581113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5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2D5CEAA4-819F-5B40-B969-7DE37E847A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2226" y="503596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bg1"/>
                </a:solidFill>
                <a:latin typeface="SB Serif Display" panose="02000503000000020004" pitchFamily="50" charset="-52"/>
                <a:cs typeface="SB Serif Display" panose="02000503000000020004" pitchFamily="50" charset="-52"/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6B5DE7FF-E635-A040-A1DF-DE6045737D7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740251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F056099F-779D-6849-9957-D4D2A1E0367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145280" y="6377940"/>
            <a:ext cx="390144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ct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dirty="0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731BE8C3-0BA6-794C-A4D3-2F2B366F2D18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D8BD707-D9CF-40AE-B4C6-C98DA3205C09}" type="datetimeFigureOut">
              <a:rPr lang="en-US" smtClean="0"/>
              <a:pPr/>
              <a:t>9/25/2025</a:t>
            </a:fld>
            <a:endParaRPr lang="en-US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C50AE1E0-FC66-E546-BEF6-7BCF32ADB3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7824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6F15528-21DE-4FAA-801E-634DDDAF4B2B}" type="slidenum">
              <a:rPr lang="en-RU" smtClean="0"/>
              <a:pPr/>
              <a:t>‹#›</a:t>
            </a:fld>
            <a:endParaRPr lang="ru-RU" dirty="0"/>
          </a:p>
        </p:txBody>
      </p:sp>
      <p:sp>
        <p:nvSpPr>
          <p:cNvPr id="10" name="bg object 16">
            <a:extLst>
              <a:ext uri="{FF2B5EF4-FFF2-40B4-BE49-F238E27FC236}">
                <a16:creationId xmlns:a16="http://schemas.microsoft.com/office/drawing/2014/main" id="{675F8155-9ACB-694C-A7F1-5E9BD01774C7}"/>
              </a:ext>
            </a:extLst>
          </p:cNvPr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1" name="bg object 16">
            <a:extLst>
              <a:ext uri="{FF2B5EF4-FFF2-40B4-BE49-F238E27FC236}">
                <a16:creationId xmlns:a16="http://schemas.microsoft.com/office/drawing/2014/main" id="{9FB89254-B9B3-2745-8A44-6FD08AE093E6}"/>
              </a:ext>
            </a:extLst>
          </p:cNvPr>
          <p:cNvSpPr/>
          <p:nvPr userDrawn="1"/>
        </p:nvSpPr>
        <p:spPr>
          <a:xfrm rot="10800000">
            <a:off x="3048" y="0"/>
            <a:ext cx="12188952" cy="6858000"/>
          </a:xfrm>
          <a:prstGeom prst="rect">
            <a:avLst/>
          </a:prstGeom>
          <a:blipFill dpi="0" rotWithShape="1">
            <a:blip r:embed="rId2" cstate="print">
              <a:alphaModFix amt="30000"/>
            </a:blip>
            <a:srcRect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2575494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8493322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3077255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6B5DE7FF-E635-A040-A1DF-DE6045737D7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19258" b="31255"/>
          <a:stretch/>
        </p:blipFill>
        <p:spPr>
          <a:xfrm>
            <a:off x="7736842" y="4873746"/>
            <a:ext cx="4463868" cy="19711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654274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6221665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1560575" y="0"/>
            <a:ext cx="10628376" cy="169163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704443" y="257555"/>
            <a:ext cx="10783112" cy="6959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r>
              <a:rPr lang="ru-RU"/>
              <a:t>Образец подзаголовка</a:t>
            </a:r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9/25/2025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94964505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685800" y="2667000"/>
            <a:ext cx="7493328" cy="1933575"/>
          </a:xfrm>
          <a:prstGeom prst="rect">
            <a:avLst/>
          </a:prstGeom>
        </p:spPr>
        <p:txBody>
          <a:bodyPr lIns="0" tIns="0" rIns="0" bIns="0"/>
          <a:lstStyle>
            <a:lvl1pPr>
              <a:defRPr sz="6600" b="0" i="0">
                <a:solidFill>
                  <a:schemeClr val="tx1"/>
                </a:solidFill>
                <a:latin typeface="SBSansDisplay-Light"/>
                <a:cs typeface="SBSansDisplay-Light"/>
              </a:defRPr>
            </a:lvl1pPr>
          </a:lstStyle>
          <a:p>
            <a:r>
              <a:rPr lang="ru-RU"/>
              <a:t>Образец заголовка</a:t>
            </a:r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09600" y="1577340"/>
            <a:ext cx="10972800" cy="4526280"/>
          </a:xfrm>
          <a:prstGeom prst="rect">
            <a:avLst/>
          </a:prstGeo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9/25/2025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1169644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6519" y="997527"/>
            <a:ext cx="11686307" cy="5613071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  <a:lvl2pPr marL="914377" indent="-304792">
              <a:buFont typeface="Wingdings" pitchFamily="2" charset="2"/>
              <a:buChar char="§"/>
              <a:defRPr sz="3200">
                <a:solidFill>
                  <a:schemeClr val="tx1"/>
                </a:solidFill>
              </a:defRPr>
            </a:lvl2pPr>
            <a:lvl3pPr marL="1523962" indent="-304792">
              <a:buFont typeface="Courier New" panose="02070309020205020404" pitchFamily="49" charset="0"/>
              <a:buChar char="o"/>
              <a:defRPr sz="3200">
                <a:solidFill>
                  <a:schemeClr val="tx1"/>
                </a:solidFill>
              </a:defRPr>
            </a:lvl3pPr>
            <a:lvl4pPr marL="2133547" indent="-304792">
              <a:buFont typeface="Wingdings" pitchFamily="2" charset="2"/>
              <a:buChar char="q"/>
              <a:defRPr sz="3200">
                <a:solidFill>
                  <a:schemeClr val="tx1"/>
                </a:solidFill>
              </a:defRPr>
            </a:lvl4pPr>
            <a:lvl5pPr marL="2743131" indent="-304792">
              <a:buFont typeface="Wingdings" pitchFamily="2" charset="2"/>
              <a:buChar char="Ø"/>
              <a:defRPr sz="3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B1B327-4D8B-4363-B1F2-9ED0E4F4AAE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1003230" y="228334"/>
            <a:ext cx="10919596" cy="546229"/>
          </a:xfrm>
          <a:prstGeom prst="rect">
            <a:avLst/>
          </a:prstGeom>
        </p:spPr>
        <p:txBody>
          <a:bodyPr/>
          <a:lstStyle>
            <a:lvl1pPr>
              <a:defRPr sz="3733" b="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0445941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6378CDBB-4100-814D-8680-E419C0E3CE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-310445" y="310446"/>
            <a:ext cx="6858001" cy="623711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4D069B2B-3053-2644-9880-8016D6556F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5703" y="365291"/>
            <a:ext cx="10728324" cy="1325563"/>
          </a:xfrm>
          <a:prstGeom prst="rect">
            <a:avLst/>
          </a:prstGeom>
        </p:spPr>
        <p:txBody>
          <a:bodyPr/>
          <a:lstStyle>
            <a:lvl1pPr algn="l">
              <a:defRPr sz="4400" b="0" i="0">
                <a:solidFill>
                  <a:schemeClr val="tx1"/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9" name="Скругленный прямоугольник 8">
            <a:extLst>
              <a:ext uri="{FF2B5EF4-FFF2-40B4-BE49-F238E27FC236}">
                <a16:creationId xmlns:a16="http://schemas.microsoft.com/office/drawing/2014/main" id="{213670A6-12D8-E047-BDFE-50054B487820}"/>
              </a:ext>
            </a:extLst>
          </p:cNvPr>
          <p:cNvSpPr/>
          <p:nvPr userDrawn="1"/>
        </p:nvSpPr>
        <p:spPr>
          <a:xfrm>
            <a:off x="5618214" y="1143000"/>
            <a:ext cx="2489200" cy="5334000"/>
          </a:xfrm>
          <a:prstGeom prst="roundRect">
            <a:avLst>
              <a:gd name="adj" fmla="val 1035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5BC2252A-62EB-6E41-B777-F9CBB31BE00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0558" y="911677"/>
            <a:ext cx="2991442" cy="5796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950269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2">
            <a:extLst>
              <a:ext uri="{FF2B5EF4-FFF2-40B4-BE49-F238E27FC236}">
                <a16:creationId xmlns:a16="http://schemas.microsoft.com/office/drawing/2014/main" id="{156AC3C8-734E-4045-B89A-44760BA4F8CD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8" name="Скругленный прямоугольник 7">
            <a:extLst>
              <a:ext uri="{FF2B5EF4-FFF2-40B4-BE49-F238E27FC236}">
                <a16:creationId xmlns:a16="http://schemas.microsoft.com/office/drawing/2014/main" id="{EFE457F0-9EC1-B648-98E2-A72A597FE8E2}"/>
              </a:ext>
            </a:extLst>
          </p:cNvPr>
          <p:cNvSpPr/>
          <p:nvPr userDrawn="1"/>
        </p:nvSpPr>
        <p:spPr>
          <a:xfrm>
            <a:off x="1930400" y="812618"/>
            <a:ext cx="2489200" cy="5334000"/>
          </a:xfrm>
          <a:prstGeom prst="roundRect">
            <a:avLst>
              <a:gd name="adj" fmla="val 1035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5BC2252A-62EB-6E41-B777-F9CBB31BE00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56758" y="530677"/>
            <a:ext cx="2991442" cy="5796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281075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>
            <a:extLst>
              <a:ext uri="{FF2B5EF4-FFF2-40B4-BE49-F238E27FC236}">
                <a16:creationId xmlns:a16="http://schemas.microsoft.com/office/drawing/2014/main" id="{1BA24CAD-70A1-B04B-9D3D-3902DA54A76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5644443" y="310447"/>
            <a:ext cx="6858001" cy="6237110"/>
          </a:xfrm>
          <a:prstGeom prst="rect">
            <a:avLst/>
          </a:prstGeom>
        </p:spPr>
      </p:pic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1ED7132D-C201-284B-A6F1-5D01ED6A088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94A2103-1B50-014C-B03C-6813F61D13EA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t>9/25/2025</a:t>
            </a:fld>
            <a:endParaRPr lang="en-US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140850F9-3768-4B48-BECE-9D826ABC7E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ru-RU" smtClean="0"/>
              <a:t>‹#›</a:t>
            </a:fld>
            <a:endParaRPr lang="ru-RU" dirty="0"/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3576E93F-3847-BD47-9709-0A15A1766E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3912" y="711770"/>
            <a:ext cx="4135483" cy="5644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277955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>
            <a:extLst>
              <a:ext uri="{FF2B5EF4-FFF2-40B4-BE49-F238E27FC236}">
                <a16:creationId xmlns:a16="http://schemas.microsoft.com/office/drawing/2014/main" id="{1BA24CAD-70A1-B04B-9D3D-3902DA54A76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5644443" y="310447"/>
            <a:ext cx="6858001" cy="6237110"/>
          </a:xfrm>
          <a:prstGeom prst="rect">
            <a:avLst/>
          </a:prstGeom>
        </p:spPr>
      </p:pic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1ED7132D-C201-284B-A6F1-5D01ED6A088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94A2103-1B50-014C-B03C-6813F61D13EA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t>9/25/2025</a:t>
            </a:fld>
            <a:endParaRPr lang="en-US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140850F9-3768-4B48-BECE-9D826ABC7E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ru-RU" smtClean="0"/>
              <a:t>‹#›</a:t>
            </a:fld>
            <a:endParaRPr lang="ru-RU" dirty="0"/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0498834D-82AD-7448-B364-0B385967E17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4282" y="1226799"/>
            <a:ext cx="8126494" cy="4628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936207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88952" cy="1655064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9/25/2025</a:t>
            </a:fld>
            <a:endParaRPr lang="en-US" dirty="0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95121290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88952" cy="6858000"/>
          </a:xfrm>
          <a:prstGeom prst="rect">
            <a:avLst/>
          </a:prstGeom>
          <a:blipFill>
            <a:blip r:embed="rId2" cstate="print"/>
            <a:stretch>
              <a:fillRect b="-2222"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685800" y="2667000"/>
            <a:ext cx="7493328" cy="1933575"/>
          </a:xfrm>
          <a:prstGeom prst="rect">
            <a:avLst/>
          </a:prstGeom>
        </p:spPr>
        <p:txBody>
          <a:bodyPr lIns="0" tIns="0" rIns="0" bIns="0"/>
          <a:lstStyle>
            <a:lvl1pPr>
              <a:defRPr sz="6600" b="0" i="0">
                <a:solidFill>
                  <a:schemeClr val="tx1"/>
                </a:solidFill>
                <a:latin typeface="SBSansDisplay-Light"/>
                <a:cs typeface="SBSansDisplay-Light"/>
              </a:defRPr>
            </a:lvl1pPr>
          </a:lstStyle>
          <a:p>
            <a:r>
              <a:rPr lang="ru-RU"/>
              <a:t>Образец заголовка</a:t>
            </a:r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9/25/20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372181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 rot="10800000">
            <a:off x="0" y="0"/>
            <a:ext cx="12188952" cy="26670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685800" y="2667000"/>
            <a:ext cx="7493328" cy="1933575"/>
          </a:xfrm>
          <a:prstGeom prst="rect">
            <a:avLst/>
          </a:prstGeom>
        </p:spPr>
        <p:txBody>
          <a:bodyPr lIns="0" tIns="0" rIns="0" bIns="0"/>
          <a:lstStyle>
            <a:lvl1pPr>
              <a:defRPr sz="6600" b="0" i="0">
                <a:solidFill>
                  <a:schemeClr val="tx1"/>
                </a:solidFill>
                <a:latin typeface="SBSansDisplay-Light"/>
                <a:cs typeface="SBSansDisplay-Light"/>
              </a:defRPr>
            </a:lvl1pPr>
          </a:lstStyle>
          <a:p>
            <a:r>
              <a:rPr lang="ru-RU"/>
              <a:t>Образец заголовка</a:t>
            </a:r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9/25/2025</a:t>
            </a:fld>
            <a:endParaRPr lang="en-US" dirty="0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t>‹#›</a:t>
            </a:fld>
            <a:endParaRPr dirty="0"/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388616B5-D785-FC4C-95DF-D9C31A7142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81" t="33333" r="20791" b="33333"/>
          <a:stretch/>
        </p:blipFill>
        <p:spPr>
          <a:xfrm>
            <a:off x="685800" y="685800"/>
            <a:ext cx="1676400" cy="533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361582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4226560"/>
            <a:ext cx="12188952" cy="26670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685800" y="2667000"/>
            <a:ext cx="7493328" cy="1933575"/>
          </a:xfrm>
          <a:prstGeom prst="rect">
            <a:avLst/>
          </a:prstGeom>
        </p:spPr>
        <p:txBody>
          <a:bodyPr lIns="0" tIns="0" rIns="0" bIns="0"/>
          <a:lstStyle>
            <a:lvl1pPr>
              <a:defRPr sz="6600" b="0" i="0">
                <a:solidFill>
                  <a:schemeClr val="tx1"/>
                </a:solidFill>
                <a:latin typeface="SBSansDisplay-Light"/>
                <a:cs typeface="SBSansDisplay-Light"/>
              </a:defRPr>
            </a:lvl1pPr>
          </a:lstStyle>
          <a:p>
            <a:r>
              <a:rPr lang="ru-RU"/>
              <a:t>Образец заголовка</a:t>
            </a:r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9/25/2025</a:t>
            </a:fld>
            <a:endParaRPr lang="en-US" dirty="0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37651741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F056099F-779D-6849-9957-D4D2A1E0367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731BE8C3-0BA6-794C-A4D3-2F2B366F2D18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t>9/25/2025</a:t>
            </a:fld>
            <a:endParaRPr lang="en-US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C50AE1E0-FC66-E546-BEF6-7BCF32ADB3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ru-RU" smtClean="0"/>
              <a:t>‹#›</a:t>
            </a:fld>
            <a:endParaRPr lang="ru-RU" dirty="0"/>
          </a:p>
        </p:txBody>
      </p:sp>
      <p:sp>
        <p:nvSpPr>
          <p:cNvPr id="10" name="bg object 16">
            <a:extLst>
              <a:ext uri="{FF2B5EF4-FFF2-40B4-BE49-F238E27FC236}">
                <a16:creationId xmlns:a16="http://schemas.microsoft.com/office/drawing/2014/main" id="{675F8155-9ACB-694C-A7F1-5E9BD01774C7}"/>
              </a:ext>
            </a:extLst>
          </p:cNvPr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1" name="bg object 16">
            <a:extLst>
              <a:ext uri="{FF2B5EF4-FFF2-40B4-BE49-F238E27FC236}">
                <a16:creationId xmlns:a16="http://schemas.microsoft.com/office/drawing/2014/main" id="{9FB89254-B9B3-2745-8A44-6FD08AE093E6}"/>
              </a:ext>
            </a:extLst>
          </p:cNvPr>
          <p:cNvSpPr/>
          <p:nvPr userDrawn="1"/>
        </p:nvSpPr>
        <p:spPr>
          <a:xfrm rot="10800000">
            <a:off x="3048" y="0"/>
            <a:ext cx="12188952" cy="6858000"/>
          </a:xfrm>
          <a:prstGeom prst="rect">
            <a:avLst/>
          </a:prstGeom>
          <a:blipFill dpi="0" rotWithShape="1">
            <a:blip r:embed="rId2" cstate="print">
              <a:alphaModFix amt="30000"/>
            </a:blip>
            <a:srcRect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0519507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2">
            <a:extLst>
              <a:ext uri="{FF2B5EF4-FFF2-40B4-BE49-F238E27FC236}">
                <a16:creationId xmlns:a16="http://schemas.microsoft.com/office/drawing/2014/main" id="{209F203A-D972-6A44-B462-788739BB69C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12C0EF28-9E55-3144-9234-57C2B61DD22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18657E6F-767D-6E49-83FD-BB4CBA2E5E43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t>9/25/2025</a:t>
            </a:fld>
            <a:endParaRPr lang="en-US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F2981B4B-4B82-6C49-AC8F-9309986E84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1449383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383C8DA4-66FA-0C4A-B9C4-294394D8242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7D36AD7-1AB0-6945-AAAA-F2A9B6C319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74858053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A8280FC4-AD29-EF48-9BC4-21105D6B2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3F1B9857-F13C-C847-9AA5-12EF95C8C5A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t>9/25/2025</a:t>
            </a:fld>
            <a:endParaRPr lang="en-US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D1504380-7C72-F148-9391-780956D658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ru-RU" smtClean="0"/>
              <a:t>‹#›</a:t>
            </a:fld>
            <a:endParaRPr lang="ru-RU" dirty="0"/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34DED942-AC15-244D-B182-8AF2D44FB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244" t="29959" r="23998" b="14575"/>
          <a:stretch/>
        </p:blipFill>
        <p:spPr>
          <a:xfrm rot="427144" flipH="1">
            <a:off x="525582" y="-542919"/>
            <a:ext cx="12670191" cy="84673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151110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9/25/2025</a:t>
            </a:fld>
            <a:endParaRPr lang="en-US" dirty="0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4174456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3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378CDBB-4100-814D-8680-E419C0E3CE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5644443" y="310447"/>
            <a:ext cx="6858001" cy="6237110"/>
          </a:xfrm>
          <a:prstGeom prst="rect">
            <a:avLst/>
          </a:prstGeom>
        </p:spPr>
      </p:pic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4076BCEE-4692-634B-A63B-DD99E1048B6B}"/>
              </a:ext>
            </a:extLst>
          </p:cNvPr>
          <p:cNvSpPr txBox="1">
            <a:spLocks/>
          </p:cNvSpPr>
          <p:nvPr userDrawn="1"/>
        </p:nvSpPr>
        <p:spPr>
          <a:xfrm>
            <a:off x="9210368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b="0" i="0" kern="1200">
                <a:solidFill>
                  <a:schemeClr val="tx1">
                    <a:tint val="75000"/>
                  </a:schemeClr>
                </a:solidFill>
                <a:latin typeface="SB Sans Display Regular" panose="020B0503040504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5FE8ADF-25A3-4B39-A1EB-43B990C73963}" type="slidenum">
              <a:rPr lang="ru-RU" b="0" i="0" smtClean="0">
                <a:solidFill>
                  <a:schemeClr val="bg1"/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pPr/>
              <a:t>‹#›</a:t>
            </a:fld>
            <a:endParaRPr lang="ru-RU" b="0" i="0" dirty="0">
              <a:solidFill>
                <a:schemeClr val="bg1"/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EBCB19BE-EBCE-3D42-A5F8-C409CB4A3B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5703" y="365291"/>
            <a:ext cx="10728324" cy="1325563"/>
          </a:xfrm>
          <a:prstGeom prst="rect">
            <a:avLst/>
          </a:prstGeom>
        </p:spPr>
        <p:txBody>
          <a:bodyPr/>
          <a:lstStyle>
            <a:lvl1pPr algn="l">
              <a:defRPr sz="4400" b="0" i="0">
                <a:solidFill>
                  <a:schemeClr val="tx1"/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095680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6378CDBB-4100-814D-8680-E419C0E3CE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-310445" y="310446"/>
            <a:ext cx="6858001" cy="6237110"/>
          </a:xfrm>
          <a:prstGeom prst="rect">
            <a:avLst/>
          </a:prstGeom>
        </p:spPr>
      </p:pic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892800" y="0"/>
            <a:ext cx="6299200" cy="6858000"/>
          </a:xfrm>
          <a:prstGeom prst="rect">
            <a:avLst/>
          </a:prstGeom>
        </p:spPr>
        <p:txBody>
          <a:bodyPr vert="horz"/>
          <a:lstStyle/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D069B2B-3053-2644-9880-8016D6556F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5703" y="365291"/>
            <a:ext cx="10728324" cy="1325563"/>
          </a:xfrm>
          <a:prstGeom prst="rect">
            <a:avLst/>
          </a:prstGeom>
        </p:spPr>
        <p:txBody>
          <a:bodyPr/>
          <a:lstStyle>
            <a:lvl1pPr algn="l">
              <a:defRPr sz="4400" b="0" i="0">
                <a:solidFill>
                  <a:schemeClr val="tx1"/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2115639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6519" y="997527"/>
            <a:ext cx="11686307" cy="5613071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  <a:lvl2pPr marL="914377" indent="-304792">
              <a:buFont typeface="Wingdings" pitchFamily="2" charset="2"/>
              <a:buChar char="§"/>
              <a:defRPr sz="3200">
                <a:solidFill>
                  <a:schemeClr val="tx1"/>
                </a:solidFill>
              </a:defRPr>
            </a:lvl2pPr>
            <a:lvl3pPr marL="1523962" indent="-304792">
              <a:buFont typeface="Courier New" panose="02070309020205020404" pitchFamily="49" charset="0"/>
              <a:buChar char="o"/>
              <a:defRPr sz="3200">
                <a:solidFill>
                  <a:schemeClr val="tx1"/>
                </a:solidFill>
              </a:defRPr>
            </a:lvl3pPr>
            <a:lvl4pPr marL="2133547" indent="-304792">
              <a:buFont typeface="Wingdings" pitchFamily="2" charset="2"/>
              <a:buChar char="q"/>
              <a:defRPr sz="3200">
                <a:solidFill>
                  <a:schemeClr val="tx1"/>
                </a:solidFill>
              </a:defRPr>
            </a:lvl4pPr>
            <a:lvl5pPr marL="2743131" indent="-304792">
              <a:buFont typeface="Wingdings" pitchFamily="2" charset="2"/>
              <a:buChar char="Ø"/>
              <a:defRPr sz="3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B1B327-4D8B-4363-B1F2-9ED0E4F4AAE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1003230" y="228334"/>
            <a:ext cx="10919596" cy="546229"/>
          </a:xfrm>
          <a:prstGeom prst="rect">
            <a:avLst/>
          </a:prstGeom>
        </p:spPr>
        <p:txBody>
          <a:bodyPr/>
          <a:lstStyle>
            <a:lvl1pPr>
              <a:defRPr sz="3733" b="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7067337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7580B0BA-E596-8540-B486-F747F0C3AA5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77798090-64AE-374F-A5DC-E861110F0A7E}"/>
              </a:ext>
            </a:extLst>
          </p:cNvPr>
          <p:cNvSpPr/>
          <p:nvPr userDrawn="1"/>
        </p:nvSpPr>
        <p:spPr>
          <a:xfrm rot="10800000">
            <a:off x="1862666" y="801511"/>
            <a:ext cx="2528712" cy="5260622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9868D7AA-469A-F449-8BDE-ABB87DCA4B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4696" y="530677"/>
            <a:ext cx="2991442" cy="5796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27702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7E43891C-D2E9-4E47-B39A-50897C511C1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7E9ED42B-06C9-E743-852A-04ED23B013C3}"/>
              </a:ext>
            </a:extLst>
          </p:cNvPr>
          <p:cNvSpPr/>
          <p:nvPr userDrawn="1"/>
        </p:nvSpPr>
        <p:spPr>
          <a:xfrm rot="10800000">
            <a:off x="6096000" y="801511"/>
            <a:ext cx="2528712" cy="5260622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09DB52A2-F7F1-9C4D-9A6E-2CC74FBD6AB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4635" y="530677"/>
            <a:ext cx="2991442" cy="5796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9554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BADD8343-5F58-254F-A13A-CB138B5B3D2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89A2B80D-311F-D042-86AB-C8200D7130E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3912" y="711770"/>
            <a:ext cx="4135483" cy="5644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076612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31BD5DA9-EEE2-6D47-8773-9172C8781E7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2000">
                <a:srgbClr val="063D60"/>
              </a:gs>
              <a:gs pos="100000">
                <a:srgbClr val="102853"/>
              </a:gs>
              <a:gs pos="0">
                <a:srgbClr val="009F8A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098A0610-D36C-3E44-8C1B-A5CFD059304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4282" y="1226799"/>
            <a:ext cx="8126494" cy="4628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32168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3.xml"/></Relationships>
</file>

<file path=ppt/slideMasters/_rels/slideMaster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4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7.xml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6.xml"/><Relationship Id="rId17" Type="http://schemas.openxmlformats.org/officeDocument/2006/relationships/theme" Target="../theme/theme7.xml"/><Relationship Id="rId2" Type="http://schemas.openxmlformats.org/officeDocument/2006/relationships/slideLayout" Target="../slideLayouts/slideLayout6.xml"/><Relationship Id="rId16" Type="http://schemas.openxmlformats.org/officeDocument/2006/relationships/slideLayout" Target="../slideLayouts/slideLayout20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14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8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slideLayout" Target="../slideLayouts/slideLayout33.xml"/><Relationship Id="rId18" Type="http://schemas.openxmlformats.org/officeDocument/2006/relationships/theme" Target="../theme/theme8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17" Type="http://schemas.openxmlformats.org/officeDocument/2006/relationships/slideLayout" Target="../slideLayouts/slideLayout37.xml"/><Relationship Id="rId2" Type="http://schemas.openxmlformats.org/officeDocument/2006/relationships/slideLayout" Target="../slideLayouts/slideLayout22.xml"/><Relationship Id="rId16" Type="http://schemas.openxmlformats.org/officeDocument/2006/relationships/slideLayout" Target="../slideLayouts/slideLayout36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5.xml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slideLayout" Target="../slideLayouts/slideLayout50.xml"/><Relationship Id="rId18" Type="http://schemas.openxmlformats.org/officeDocument/2006/relationships/theme" Target="../theme/theme9.xml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9.xml"/><Relationship Id="rId17" Type="http://schemas.openxmlformats.org/officeDocument/2006/relationships/slideLayout" Target="../slideLayouts/slideLayout54.xml"/><Relationship Id="rId2" Type="http://schemas.openxmlformats.org/officeDocument/2006/relationships/slideLayout" Target="../slideLayouts/slideLayout39.xml"/><Relationship Id="rId16" Type="http://schemas.openxmlformats.org/officeDocument/2006/relationships/slideLayout" Target="../slideLayouts/slideLayout53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2.xml"/><Relationship Id="rId15" Type="http://schemas.openxmlformats.org/officeDocument/2006/relationships/slideLayout" Target="../slideLayouts/slideLayout52.xml"/><Relationship Id="rId10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slideLayout" Target="../slideLayouts/slideLayout5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880" y="6444537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444537"/>
            <a:ext cx="4114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6920" y="6451547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867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/>
            <a:fld id="{41313719-8C68-A548-A392-62A6EB106E0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377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Изображение 9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12272" y="1"/>
            <a:ext cx="1218352" cy="11928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7873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86" r:id="rId2"/>
  </p:sldLayoutIdLst>
  <p:hf sldNum="0" hdr="0" ftr="0" dt="0"/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4792" indent="-304792" algn="l" defTabSz="1219170" rtl="0" eaLnBrk="1" latinLnBrk="0" hangingPunct="1">
        <a:lnSpc>
          <a:spcPct val="90000"/>
        </a:lnSpc>
        <a:spcBef>
          <a:spcPts val="1333"/>
        </a:spcBef>
        <a:buFont typeface="Arial"/>
        <a:buChar char="•"/>
        <a:defRPr sz="3733" kern="1200">
          <a:solidFill>
            <a:schemeClr val="tx1"/>
          </a:solidFill>
          <a:latin typeface="+mn-lt"/>
          <a:ea typeface="+mn-ea"/>
          <a:cs typeface="+mn-cs"/>
        </a:defRPr>
      </a:lvl1pPr>
      <a:lvl2pPr marL="914377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880" y="6444537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444537"/>
            <a:ext cx="4114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6920" y="6451547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867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/>
            <a:fld id="{41313719-8C68-A548-A392-62A6EB106E0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377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Изображение 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12272" y="1"/>
            <a:ext cx="1218352" cy="11928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49979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</p:sldLayoutIdLst>
  <p:hf sldNum="0" hdr="0" ftr="0" dt="0"/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4792" indent="-304792" algn="l" defTabSz="1219170" rtl="0" eaLnBrk="1" latinLnBrk="0" hangingPunct="1">
        <a:lnSpc>
          <a:spcPct val="90000"/>
        </a:lnSpc>
        <a:spcBef>
          <a:spcPts val="1333"/>
        </a:spcBef>
        <a:buFont typeface="Arial"/>
        <a:buChar char="•"/>
        <a:defRPr sz="3733" kern="1200">
          <a:solidFill>
            <a:schemeClr val="tx1"/>
          </a:solidFill>
          <a:latin typeface="+mn-lt"/>
          <a:ea typeface="+mn-ea"/>
          <a:cs typeface="+mn-cs"/>
        </a:defRPr>
      </a:lvl1pPr>
      <a:lvl2pPr marL="914377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880" y="6444537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444537"/>
            <a:ext cx="4114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6920" y="6451547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867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/>
            <a:fld id="{41313719-8C68-A548-A392-62A6EB106E0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377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Изображение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12272" y="1"/>
            <a:ext cx="1218352" cy="11928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0616182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4792" indent="-304792" algn="l" defTabSz="1219170" rtl="0" eaLnBrk="1" latinLnBrk="0" hangingPunct="1">
        <a:lnSpc>
          <a:spcPct val="90000"/>
        </a:lnSpc>
        <a:spcBef>
          <a:spcPts val="1333"/>
        </a:spcBef>
        <a:buFont typeface="Arial"/>
        <a:buChar char="•"/>
        <a:defRPr sz="3733" kern="1200">
          <a:solidFill>
            <a:schemeClr val="tx1"/>
          </a:solidFill>
          <a:latin typeface="+mn-lt"/>
          <a:ea typeface="+mn-ea"/>
          <a:cs typeface="+mn-cs"/>
        </a:defRPr>
      </a:lvl1pPr>
      <a:lvl2pPr marL="914377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880" y="6444537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444537"/>
            <a:ext cx="4114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6920" y="6451547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867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/>
            <a:fld id="{41313719-8C68-A548-A392-62A6EB106E0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377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Изображение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12272" y="1"/>
            <a:ext cx="1218352" cy="11928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0715341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4792" indent="-304792" algn="l" defTabSz="1219170" rtl="0" eaLnBrk="1" latinLnBrk="0" hangingPunct="1">
        <a:lnSpc>
          <a:spcPct val="90000"/>
        </a:lnSpc>
        <a:spcBef>
          <a:spcPts val="1333"/>
        </a:spcBef>
        <a:buFont typeface="Arial"/>
        <a:buChar char="•"/>
        <a:defRPr sz="3733" kern="1200">
          <a:solidFill>
            <a:schemeClr val="tx1"/>
          </a:solidFill>
          <a:latin typeface="+mn-lt"/>
          <a:ea typeface="+mn-ea"/>
          <a:cs typeface="+mn-cs"/>
        </a:defRPr>
      </a:lvl1pPr>
      <a:lvl2pPr marL="914377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880" y="6444537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444537"/>
            <a:ext cx="4114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6920" y="6451547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867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/>
            <a:fld id="{41313719-8C68-A548-A392-62A6EB106E0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377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Изображение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12272" y="1"/>
            <a:ext cx="1218352" cy="11928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5745893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4792" indent="-304792" algn="l" defTabSz="1219170" rtl="0" eaLnBrk="1" latinLnBrk="0" hangingPunct="1">
        <a:lnSpc>
          <a:spcPct val="90000"/>
        </a:lnSpc>
        <a:spcBef>
          <a:spcPts val="1333"/>
        </a:spcBef>
        <a:buFont typeface="Arial"/>
        <a:buChar char="•"/>
        <a:defRPr sz="3733" kern="1200">
          <a:solidFill>
            <a:schemeClr val="tx1"/>
          </a:solidFill>
          <a:latin typeface="+mn-lt"/>
          <a:ea typeface="+mn-ea"/>
          <a:cs typeface="+mn-cs"/>
        </a:defRPr>
      </a:lvl1pPr>
      <a:lvl2pPr marL="914377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880" y="6444537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hangingPunct="1"/>
            <a:endParaRPr lang="en-US" kern="1200" dirty="0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444537"/>
            <a:ext cx="4114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hangingPunct="1"/>
            <a:endParaRPr lang="en-US" kern="1200" dirty="0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6920" y="6451547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867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hangingPunct="1"/>
            <a:fld id="{41313719-8C68-A548-A392-62A6EB106E00}" type="slidenum">
              <a:rPr lang="en-US" kern="1200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 hangingPunct="1"/>
              <a:t>‹#›</a:t>
            </a:fld>
            <a:endParaRPr lang="en-US" kern="1200" dirty="0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pic>
        <p:nvPicPr>
          <p:cNvPr id="8" name="Изображение 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12272" y="1"/>
            <a:ext cx="1218352" cy="11928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26055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</p:sldLayoutIdLst>
  <p:hf sldNum="0" hdr="0" ftr="0" dt="0"/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4792" indent="-304792" algn="l" defTabSz="1219170" rtl="0" eaLnBrk="1" latinLnBrk="0" hangingPunct="1">
        <a:lnSpc>
          <a:spcPct val="90000"/>
        </a:lnSpc>
        <a:spcBef>
          <a:spcPts val="1333"/>
        </a:spcBef>
        <a:buFont typeface="Arial"/>
        <a:buChar char="•"/>
        <a:defRPr sz="3733" kern="1200">
          <a:solidFill>
            <a:schemeClr val="tx1"/>
          </a:solidFill>
          <a:latin typeface="+mn-lt"/>
          <a:ea typeface="+mn-ea"/>
          <a:cs typeface="+mn-cs"/>
        </a:defRPr>
      </a:lvl1pPr>
      <a:lvl2pPr marL="914377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34271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  <p:sldLayoutId id="2147483701" r:id="rId10"/>
    <p:sldLayoutId id="2147483702" r:id="rId11"/>
    <p:sldLayoutId id="2147483703" r:id="rId12"/>
    <p:sldLayoutId id="2147483704" r:id="rId13"/>
    <p:sldLayoutId id="2147483705" r:id="rId14"/>
    <p:sldLayoutId id="2147483706" r:id="rId15"/>
    <p:sldLayoutId id="2147483707" r:id="rId1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0" i="0" kern="1200">
          <a:solidFill>
            <a:schemeClr val="tx1"/>
          </a:solidFill>
          <a:latin typeface="SB Sans Display Regular" panose="020B0503040504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SB Sans Display Regular" panose="020B0503040504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SB Sans Display Regular" panose="020B0503040504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SB Sans Display Regular" panose="020B0503040504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SB Sans Display Regular" panose="020B0503040504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SB Sans Display Regular" panose="020B0503040504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38">
          <p15:clr>
            <a:srgbClr val="F26B43"/>
          </p15:clr>
        </p15:guide>
        <p15:guide id="2" orient="horz" pos="436">
          <p15:clr>
            <a:srgbClr val="F26B43"/>
          </p15:clr>
        </p15:guide>
        <p15:guide id="3" pos="7242">
          <p15:clr>
            <a:srgbClr val="F26B43"/>
          </p15:clr>
        </p15:guide>
        <p15:guide id="4" orient="horz" pos="3884">
          <p15:clr>
            <a:srgbClr val="F26B43"/>
          </p15:clr>
        </p15:guide>
        <p15:guide id="5" orient="horz" pos="2160">
          <p15:clr>
            <a:srgbClr val="F26B43"/>
          </p15:clr>
        </p15:guide>
        <p15:guide id="6" orient="horz" pos="3521">
          <p15:clr>
            <a:srgbClr val="F26B43"/>
          </p15:clr>
        </p15:guide>
        <p15:guide id="7" orient="horz" pos="799">
          <p15:clr>
            <a:srgbClr val="F26B43"/>
          </p15:clr>
        </p15:guide>
        <p15:guide id="8" orient="horz" pos="2614">
          <p15:clr>
            <a:srgbClr val="F26B43"/>
          </p15:clr>
        </p15:guide>
        <p15:guide id="9" orient="horz" pos="1706">
          <p15:clr>
            <a:srgbClr val="F26B43"/>
          </p15:clr>
        </p15:guide>
        <p15:guide id="10" pos="3840">
          <p15:clr>
            <a:srgbClr val="F26B43"/>
          </p15:clr>
        </p15:guide>
        <p15:guide id="11" pos="2933">
          <p15:clr>
            <a:srgbClr val="F26B43"/>
          </p15:clr>
        </p15:guide>
        <p15:guide id="12" pos="2479">
          <p15:clr>
            <a:srgbClr val="F26B43"/>
          </p15:clr>
        </p15:guide>
        <p15:guide id="13" pos="2026">
          <p15:clr>
            <a:srgbClr val="F26B43"/>
          </p15:clr>
        </p15:guide>
        <p15:guide id="14" pos="1118">
          <p15:clr>
            <a:srgbClr val="F26B43"/>
          </p15:clr>
        </p15:guide>
        <p15:guide id="15" pos="4747">
          <p15:clr>
            <a:srgbClr val="F26B43"/>
          </p15:clr>
        </p15:guide>
        <p15:guide id="16" pos="5201">
          <p15:clr>
            <a:srgbClr val="F26B43"/>
          </p15:clr>
        </p15:guide>
        <p15:guide id="17" pos="5654">
          <p15:clr>
            <a:srgbClr val="F26B43"/>
          </p15:clr>
        </p15:guide>
        <p15:guide id="18" pos="6562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39775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  <p:sldLayoutId id="2147483720" r:id="rId12"/>
    <p:sldLayoutId id="2147483725" r:id="rId13"/>
    <p:sldLayoutId id="2147483721" r:id="rId14"/>
    <p:sldLayoutId id="2147483722" r:id="rId15"/>
    <p:sldLayoutId id="2147483723" r:id="rId16"/>
    <p:sldLayoutId id="2147483724" r:id="rId1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0" i="0" kern="1200">
          <a:solidFill>
            <a:schemeClr val="tx1"/>
          </a:solidFill>
          <a:latin typeface="SB Sans Display Regular" panose="020B0503040504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SB Sans Display Regular" panose="020B0503040504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SB Sans Display Regular" panose="020B0503040504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SB Sans Display Regular" panose="020B0503040504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SB Sans Display Regular" panose="020B0503040504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SB Sans Display Regular" panose="020B0503040504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38">
          <p15:clr>
            <a:srgbClr val="F26B43"/>
          </p15:clr>
        </p15:guide>
        <p15:guide id="2" orient="horz" pos="436">
          <p15:clr>
            <a:srgbClr val="F26B43"/>
          </p15:clr>
        </p15:guide>
        <p15:guide id="3" pos="7242">
          <p15:clr>
            <a:srgbClr val="F26B43"/>
          </p15:clr>
        </p15:guide>
        <p15:guide id="4" orient="horz" pos="3884">
          <p15:clr>
            <a:srgbClr val="F26B43"/>
          </p15:clr>
        </p15:guide>
        <p15:guide id="5" orient="horz" pos="2160">
          <p15:clr>
            <a:srgbClr val="F26B43"/>
          </p15:clr>
        </p15:guide>
        <p15:guide id="6" orient="horz" pos="3521">
          <p15:clr>
            <a:srgbClr val="F26B43"/>
          </p15:clr>
        </p15:guide>
        <p15:guide id="7" orient="horz" pos="799">
          <p15:clr>
            <a:srgbClr val="F26B43"/>
          </p15:clr>
        </p15:guide>
        <p15:guide id="8" orient="horz" pos="2614">
          <p15:clr>
            <a:srgbClr val="F26B43"/>
          </p15:clr>
        </p15:guide>
        <p15:guide id="9" orient="horz" pos="1706">
          <p15:clr>
            <a:srgbClr val="F26B43"/>
          </p15:clr>
        </p15:guide>
        <p15:guide id="10" pos="3840">
          <p15:clr>
            <a:srgbClr val="F26B43"/>
          </p15:clr>
        </p15:guide>
        <p15:guide id="11" pos="2933">
          <p15:clr>
            <a:srgbClr val="F26B43"/>
          </p15:clr>
        </p15:guide>
        <p15:guide id="12" pos="2479">
          <p15:clr>
            <a:srgbClr val="F26B43"/>
          </p15:clr>
        </p15:guide>
        <p15:guide id="13" pos="2026">
          <p15:clr>
            <a:srgbClr val="F26B43"/>
          </p15:clr>
        </p15:guide>
        <p15:guide id="14" pos="1118">
          <p15:clr>
            <a:srgbClr val="F26B43"/>
          </p15:clr>
        </p15:guide>
        <p15:guide id="15" pos="4747">
          <p15:clr>
            <a:srgbClr val="F26B43"/>
          </p15:clr>
        </p15:guide>
        <p15:guide id="16" pos="5201">
          <p15:clr>
            <a:srgbClr val="F26B43"/>
          </p15:clr>
        </p15:guide>
        <p15:guide id="17" pos="5654">
          <p15:clr>
            <a:srgbClr val="F26B43"/>
          </p15:clr>
        </p15:guide>
        <p15:guide id="18" pos="6562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5280" y="6377940"/>
            <a:ext cx="390144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9/25/2025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77824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t>‹#›</a:t>
            </a:fld>
            <a:endParaRPr dirty="0"/>
          </a:p>
        </p:txBody>
      </p:sp>
      <p:sp>
        <p:nvSpPr>
          <p:cNvPr id="8" name="Заголовок 7">
            <a:extLst>
              <a:ext uri="{FF2B5EF4-FFF2-40B4-BE49-F238E27FC236}">
                <a16:creationId xmlns:a16="http://schemas.microsoft.com/office/drawing/2014/main" id="{287FEEEE-477F-524E-8627-A9C3E1E05D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2667000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9920622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732" r:id="rId6"/>
    <p:sldLayoutId id="2147483733" r:id="rId7"/>
    <p:sldLayoutId id="2147483734" r:id="rId8"/>
    <p:sldLayoutId id="2147483735" r:id="rId9"/>
    <p:sldLayoutId id="2147483736" r:id="rId10"/>
    <p:sldLayoutId id="2147483737" r:id="rId11"/>
    <p:sldLayoutId id="2147483738" r:id="rId12"/>
    <p:sldLayoutId id="2147483739" r:id="rId13"/>
    <p:sldLayoutId id="2147483740" r:id="rId14"/>
    <p:sldLayoutId id="2147483741" r:id="rId15"/>
    <p:sldLayoutId id="2147483742" r:id="rId16"/>
    <p:sldLayoutId id="2147483748" r:id="rId17"/>
  </p:sldLayoutIdLst>
  <p:txStyles>
    <p:titleStyle>
      <a:lvl1pPr eaLnBrk="1" hangingPunct="1">
        <a:defRPr sz="6000" b="0" i="0">
          <a:latin typeface="SB Sans Display Light" panose="020B0303040504020204" pitchFamily="34" charset="0"/>
          <a:ea typeface="+mj-ea"/>
          <a:cs typeface="SB Sans Display Light" panose="020B0303040504020204" pitchFamily="34" charset="0"/>
        </a:defRPr>
      </a:lvl1pPr>
    </p:titleStyle>
    <p:bodyStyle>
      <a:lvl1pPr marL="0" eaLnBrk="1" hangingPunct="1">
        <a:defRPr>
          <a:latin typeface="+mn-lt"/>
          <a:ea typeface="+mn-ea"/>
          <a:cs typeface="+mn-cs"/>
        </a:defRPr>
      </a:lvl1pPr>
      <a:lvl2pPr marL="457200" eaLnBrk="1" hangingPunct="1">
        <a:defRPr>
          <a:latin typeface="+mn-lt"/>
          <a:ea typeface="+mn-ea"/>
          <a:cs typeface="+mn-cs"/>
        </a:defRPr>
      </a:lvl2pPr>
      <a:lvl3pPr marL="914400" eaLnBrk="1" hangingPunct="1">
        <a:defRPr>
          <a:latin typeface="+mn-lt"/>
          <a:ea typeface="+mn-ea"/>
          <a:cs typeface="+mn-cs"/>
        </a:defRPr>
      </a:lvl3pPr>
      <a:lvl4pPr marL="1371600" eaLnBrk="1" hangingPunct="1">
        <a:defRPr>
          <a:latin typeface="+mn-lt"/>
          <a:ea typeface="+mn-ea"/>
          <a:cs typeface="+mn-cs"/>
        </a:defRPr>
      </a:lvl4pPr>
      <a:lvl5pPr marL="1828800" eaLnBrk="1" hangingPunct="1">
        <a:defRPr>
          <a:latin typeface="+mn-lt"/>
          <a:ea typeface="+mn-ea"/>
          <a:cs typeface="+mn-cs"/>
        </a:defRPr>
      </a:lvl5pPr>
      <a:lvl6pPr marL="2286000" eaLnBrk="1" hangingPunct="1">
        <a:defRPr>
          <a:latin typeface="+mn-lt"/>
          <a:ea typeface="+mn-ea"/>
          <a:cs typeface="+mn-cs"/>
        </a:defRPr>
      </a:lvl6pPr>
      <a:lvl7pPr marL="2743200" eaLnBrk="1" hangingPunct="1">
        <a:defRPr>
          <a:latin typeface="+mn-lt"/>
          <a:ea typeface="+mn-ea"/>
          <a:cs typeface="+mn-cs"/>
        </a:defRPr>
      </a:lvl7pPr>
      <a:lvl8pPr marL="3200400" eaLnBrk="1" hangingPunct="1">
        <a:defRPr>
          <a:latin typeface="+mn-lt"/>
          <a:ea typeface="+mn-ea"/>
          <a:cs typeface="+mn-cs"/>
        </a:defRPr>
      </a:lvl8pPr>
      <a:lvl9pPr marL="3657600" eaLnBrk="1" hangingPunct="1">
        <a:defRPr>
          <a:latin typeface="+mn-lt"/>
          <a:ea typeface="+mn-ea"/>
          <a:cs typeface="+mn-cs"/>
        </a:defRPr>
      </a:lvl9pPr>
    </p:bodyStyle>
    <p:otherStyle>
      <a:lvl1pPr marL="0" eaLnBrk="1" hangingPunct="1">
        <a:defRPr>
          <a:latin typeface="+mn-lt"/>
          <a:ea typeface="+mn-ea"/>
          <a:cs typeface="+mn-cs"/>
        </a:defRPr>
      </a:lvl1pPr>
      <a:lvl2pPr marL="457200" eaLnBrk="1" hangingPunct="1">
        <a:defRPr>
          <a:latin typeface="+mn-lt"/>
          <a:ea typeface="+mn-ea"/>
          <a:cs typeface="+mn-cs"/>
        </a:defRPr>
      </a:lvl2pPr>
      <a:lvl3pPr marL="914400" eaLnBrk="1" hangingPunct="1">
        <a:defRPr>
          <a:latin typeface="+mn-lt"/>
          <a:ea typeface="+mn-ea"/>
          <a:cs typeface="+mn-cs"/>
        </a:defRPr>
      </a:lvl3pPr>
      <a:lvl4pPr marL="1371600" eaLnBrk="1" hangingPunct="1">
        <a:defRPr>
          <a:latin typeface="+mn-lt"/>
          <a:ea typeface="+mn-ea"/>
          <a:cs typeface="+mn-cs"/>
        </a:defRPr>
      </a:lvl4pPr>
      <a:lvl5pPr marL="1828800" eaLnBrk="1" hangingPunct="1">
        <a:defRPr>
          <a:latin typeface="+mn-lt"/>
          <a:ea typeface="+mn-ea"/>
          <a:cs typeface="+mn-cs"/>
        </a:defRPr>
      </a:lvl5pPr>
      <a:lvl6pPr marL="2286000" eaLnBrk="1" hangingPunct="1">
        <a:defRPr>
          <a:latin typeface="+mn-lt"/>
          <a:ea typeface="+mn-ea"/>
          <a:cs typeface="+mn-cs"/>
        </a:defRPr>
      </a:lvl6pPr>
      <a:lvl7pPr marL="2743200" eaLnBrk="1" hangingPunct="1">
        <a:defRPr>
          <a:latin typeface="+mn-lt"/>
          <a:ea typeface="+mn-ea"/>
          <a:cs typeface="+mn-cs"/>
        </a:defRPr>
      </a:lvl7pPr>
      <a:lvl8pPr marL="3200400" eaLnBrk="1" hangingPunct="1">
        <a:defRPr>
          <a:latin typeface="+mn-lt"/>
          <a:ea typeface="+mn-ea"/>
          <a:cs typeface="+mn-cs"/>
        </a:defRPr>
      </a:lvl8pPr>
      <a:lvl9pPr marL="3657600" eaLnBrk="1" hangingPunct="1">
        <a:defRPr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7248">
          <p15:clr>
            <a:srgbClr val="F26B43"/>
          </p15:clr>
        </p15:guide>
        <p15:guide id="3" pos="432">
          <p15:clr>
            <a:srgbClr val="F26B43"/>
          </p15:clr>
        </p15:guide>
        <p15:guide id="4" pos="1104">
          <p15:clr>
            <a:srgbClr val="F26B43"/>
          </p15:clr>
        </p15:guide>
        <p15:guide id="5" pos="6576">
          <p15:clr>
            <a:srgbClr val="F26B43"/>
          </p15:clr>
        </p15:guide>
        <p15:guide id="6" orient="horz" pos="432">
          <p15:clr>
            <a:srgbClr val="F26B43"/>
          </p15:clr>
        </p15:guide>
        <p15:guide id="7" orient="horz" pos="2160">
          <p15:clr>
            <a:srgbClr val="F26B43"/>
          </p15:clr>
        </p15:guide>
        <p15:guide id="8" orient="horz" pos="3888">
          <p15:clr>
            <a:srgbClr val="F26B43"/>
          </p15:clr>
        </p15:guide>
        <p15:guide id="9" orient="horz" pos="3504">
          <p15:clr>
            <a:srgbClr val="F26B43"/>
          </p15:clr>
        </p15:guide>
        <p15:guide id="10" orient="horz" pos="816">
          <p15:clr>
            <a:srgbClr val="F26B43"/>
          </p15:clr>
        </p15:guide>
        <p15:guide id="11" orient="horz" pos="2640">
          <p15:clr>
            <a:srgbClr val="F26B43"/>
          </p15:clr>
        </p15:guide>
        <p15:guide id="12" orient="horz" pos="1680">
          <p15:clr>
            <a:srgbClr val="F26B43"/>
          </p15:clr>
        </p15:guide>
        <p15:guide id="13" pos="2928">
          <p15:clr>
            <a:srgbClr val="F26B43"/>
          </p15:clr>
        </p15:guide>
        <p15:guide id="14" pos="4752">
          <p15:clr>
            <a:srgbClr val="F26B43"/>
          </p15:clr>
        </p15:guide>
        <p15:guide id="15" pos="2496">
          <p15:clr>
            <a:srgbClr val="F26B43"/>
          </p15:clr>
        </p15:guide>
        <p15:guide id="16" pos="5184">
          <p15:clr>
            <a:srgbClr val="F26B43"/>
          </p15:clr>
        </p15:guide>
        <p15:guide id="17" pos="2016">
          <p15:clr>
            <a:srgbClr val="F26B43"/>
          </p15:clr>
        </p15:guide>
        <p15:guide id="18" pos="56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5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1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1.png"/><Relationship Id="rId7" Type="http://schemas.openxmlformats.org/officeDocument/2006/relationships/image" Target="../media/image341.png"/><Relationship Id="rId2" Type="http://schemas.openxmlformats.org/officeDocument/2006/relationships/image" Target="../media/image190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31.png"/><Relationship Id="rId11" Type="http://schemas.openxmlformats.org/officeDocument/2006/relationships/image" Target="../media/image380.png"/><Relationship Id="rId5" Type="http://schemas.openxmlformats.org/officeDocument/2006/relationships/image" Target="../media/image322.png"/><Relationship Id="rId10" Type="http://schemas.openxmlformats.org/officeDocument/2006/relationships/image" Target="../media/image370.png"/><Relationship Id="rId4" Type="http://schemas.openxmlformats.org/officeDocument/2006/relationships/image" Target="../media/image312.png"/><Relationship Id="rId9" Type="http://schemas.openxmlformats.org/officeDocument/2006/relationships/image" Target="../media/image360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0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00.png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0.png"/><Relationship Id="rId3" Type="http://schemas.openxmlformats.org/officeDocument/2006/relationships/image" Target="../media/image311.png"/><Relationship Id="rId7" Type="http://schemas.openxmlformats.org/officeDocument/2006/relationships/image" Target="../media/image330.png"/><Relationship Id="rId2" Type="http://schemas.openxmlformats.org/officeDocument/2006/relationships/image" Target="../media/image520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20.png"/><Relationship Id="rId5" Type="http://schemas.openxmlformats.org/officeDocument/2006/relationships/image" Target="../media/image310.png"/><Relationship Id="rId4" Type="http://schemas.openxmlformats.org/officeDocument/2006/relationships/image" Target="../media/image321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0.png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0.png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tiff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tif"/><Relationship Id="rId1" Type="http://schemas.openxmlformats.org/officeDocument/2006/relationships/slideLayout" Target="../slideLayouts/slideLayout54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0.png"/><Relationship Id="rId2" Type="http://schemas.openxmlformats.org/officeDocument/2006/relationships/image" Target="../media/image580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740.png"/><Relationship Id="rId4" Type="http://schemas.openxmlformats.org/officeDocument/2006/relationships/image" Target="../media/image33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0.png"/><Relationship Id="rId2" Type="http://schemas.openxmlformats.org/officeDocument/2006/relationships/image" Target="../media/image580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740.png"/><Relationship Id="rId4" Type="http://schemas.openxmlformats.org/officeDocument/2006/relationships/image" Target="../media/image33.png"/></Relationships>
</file>

<file path=ppt/slides/_rels/slide33.xml.rels><?xml version="1.0" encoding="UTF-8" standalone="yes"?>
<Relationships xmlns="http://schemas.openxmlformats.org/package/2006/relationships"><Relationship Id="rId7" Type="http://schemas.openxmlformats.org/officeDocument/2006/relationships/image" Target="../media/image590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80.png"/><Relationship Id="rId5" Type="http://schemas.openxmlformats.org/officeDocument/2006/relationships/image" Target="../media/image740.png"/></Relationships>
</file>

<file path=ppt/slides/_rels/slide34.xml.rels><?xml version="1.0" encoding="UTF-8" standalone="yes"?>
<Relationships xmlns="http://schemas.openxmlformats.org/package/2006/relationships"><Relationship Id="rId7" Type="http://schemas.openxmlformats.org/officeDocument/2006/relationships/image" Target="../media/image590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80.png"/><Relationship Id="rId5" Type="http://schemas.openxmlformats.org/officeDocument/2006/relationships/image" Target="../media/image740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png"/><Relationship Id="rId1" Type="http://schemas.openxmlformats.org/officeDocument/2006/relationships/slideLayout" Target="../slideLayouts/slideLayout1.xml"/><Relationship Id="rId5" Type="http://schemas.openxmlformats.org/officeDocument/2006/relationships/hyperlink" Target="https://hackernoon.com/life-is-gradient-descent-880c60ac1be8" TargetMode="External"/><Relationship Id="rId4" Type="http://schemas.openxmlformats.org/officeDocument/2006/relationships/image" Target="../media/image34.gif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png"/><Relationship Id="rId2" Type="http://schemas.openxmlformats.org/officeDocument/2006/relationships/image" Target="../media/image35.gif"/><Relationship Id="rId1" Type="http://schemas.openxmlformats.org/officeDocument/2006/relationships/slideLayout" Target="../slideLayouts/slideLayout1.xml"/><Relationship Id="rId5" Type="http://schemas.openxmlformats.org/officeDocument/2006/relationships/hyperlink" Target="https://hackernoon.com/life-is-gradient-descent-880c60ac1be8" TargetMode="External"/><Relationship Id="rId4" Type="http://schemas.openxmlformats.org/officeDocument/2006/relationships/image" Target="../media/image34.gif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gif"/><Relationship Id="rId1" Type="http://schemas.openxmlformats.org/officeDocument/2006/relationships/slideLayout" Target="../slideLayouts/slideLayout1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tiff"/><Relationship Id="rId1" Type="http://schemas.openxmlformats.org/officeDocument/2006/relationships/slideLayout" Target="../slideLayouts/slideLayout1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503452CA-A194-43A7-8A5B-EA397BFDAEF3}"/>
              </a:ext>
            </a:extLst>
          </p:cNvPr>
          <p:cNvSpPr txBox="1"/>
          <p:nvPr/>
        </p:nvSpPr>
        <p:spPr>
          <a:xfrm>
            <a:off x="435614" y="766657"/>
            <a:ext cx="4030343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6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Анализ экономических данных. Лекция 2. Регрессия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13FD2E4-07BB-451F-AB81-D9D288920675}"/>
              </a:ext>
            </a:extLst>
          </p:cNvPr>
          <p:cNvSpPr txBox="1"/>
          <p:nvPr/>
        </p:nvSpPr>
        <p:spPr>
          <a:xfrm>
            <a:off x="461517" y="3886863"/>
            <a:ext cx="400444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dirty="0">
                <a:solidFill>
                  <a:schemeClr val="accent1">
                    <a:lumMod val="75000"/>
                  </a:schemeClr>
                </a:solidFill>
              </a:rPr>
              <a:t>Петр Паршаков</a:t>
            </a:r>
          </a:p>
          <a:p>
            <a:r>
              <a:rPr lang="ru-RU" sz="2800" dirty="0">
                <a:solidFill>
                  <a:schemeClr val="accent1">
                    <a:lumMod val="75000"/>
                  </a:schemeClr>
                </a:solidFill>
              </a:rPr>
              <a:t>к.э.н., </a:t>
            </a:r>
            <a:r>
              <a:rPr lang="en-US" sz="2800" dirty="0">
                <a:solidFill>
                  <a:schemeClr val="accent1">
                    <a:lumMod val="75000"/>
                  </a:schemeClr>
                </a:solidFill>
              </a:rPr>
              <a:t>PhD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350076CD-6271-437A-9A6D-7AAB143CE76A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615" y="6114518"/>
            <a:ext cx="4163224" cy="493735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5639286B-44E6-D41B-8538-DF1E1ECE7C9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59631" y="0"/>
            <a:ext cx="7287904" cy="72879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541284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6C5896F-9E5B-7842-8373-3635CE1347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ъект </a:t>
            </a:r>
            <a:r>
              <a:rPr lang="ru-RU" dirty="0"/>
              <a:t>как строчка в таблице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3E4E194F-95D9-BC49-8376-BFA9B12094A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20732114"/>
              </p:ext>
            </p:extLst>
          </p:nvPr>
        </p:nvGraphicFramePr>
        <p:xfrm>
          <a:off x="601133" y="2201993"/>
          <a:ext cx="10989733" cy="2926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73200">
                  <a:extLst>
                    <a:ext uri="{9D8B030D-6E8A-4147-A177-3AD203B41FA5}">
                      <a16:colId xmlns:a16="http://schemas.microsoft.com/office/drawing/2014/main" val="4071554323"/>
                    </a:ext>
                  </a:extLst>
                </a:gridCol>
                <a:gridCol w="1930400">
                  <a:extLst>
                    <a:ext uri="{9D8B030D-6E8A-4147-A177-3AD203B41FA5}">
                      <a16:colId xmlns:a16="http://schemas.microsoft.com/office/drawing/2014/main" val="2599861594"/>
                    </a:ext>
                  </a:extLst>
                </a:gridCol>
                <a:gridCol w="2777067">
                  <a:extLst>
                    <a:ext uri="{9D8B030D-6E8A-4147-A177-3AD203B41FA5}">
                      <a16:colId xmlns:a16="http://schemas.microsoft.com/office/drawing/2014/main" val="3129107494"/>
                    </a:ext>
                  </a:extLst>
                </a:gridCol>
                <a:gridCol w="2760133">
                  <a:extLst>
                    <a:ext uri="{9D8B030D-6E8A-4147-A177-3AD203B41FA5}">
                      <a16:colId xmlns:a16="http://schemas.microsoft.com/office/drawing/2014/main" val="1183495281"/>
                    </a:ext>
                  </a:extLst>
                </a:gridCol>
                <a:gridCol w="2048933">
                  <a:extLst>
                    <a:ext uri="{9D8B030D-6E8A-4147-A177-3AD203B41FA5}">
                      <a16:colId xmlns:a16="http://schemas.microsoft.com/office/drawing/2014/main" val="2165167123"/>
                    </a:ext>
                  </a:extLst>
                </a:gridCol>
              </a:tblGrid>
              <a:tr h="6096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3200" dirty="0"/>
                        <a:t>Номер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3200" dirty="0"/>
                        <a:t>Площадь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3200" dirty="0"/>
                        <a:t>Год постройки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3200" dirty="0"/>
                        <a:t>Число комнат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3200" dirty="0"/>
                        <a:t>Цена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2810489858"/>
                  </a:ext>
                </a:extLst>
              </a:tr>
              <a:tr h="609600"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1</a:t>
                      </a:r>
                      <a:endParaRPr lang="ru-RU" sz="32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3200" dirty="0"/>
                        <a:t>45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3200" dirty="0"/>
                        <a:t>1995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3200" dirty="0"/>
                        <a:t>1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3200" dirty="0"/>
                        <a:t>7000000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1506392034"/>
                  </a:ext>
                </a:extLst>
              </a:tr>
              <a:tr h="609600"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2</a:t>
                      </a:r>
                      <a:endParaRPr lang="ru-RU" sz="32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60</a:t>
                      </a:r>
                      <a:endParaRPr lang="ru-RU" sz="32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2005</a:t>
                      </a:r>
                      <a:endParaRPr lang="ru-RU" sz="32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2</a:t>
                      </a:r>
                      <a:endParaRPr lang="ru-RU" sz="32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9900000</a:t>
                      </a:r>
                      <a:endParaRPr lang="ru-RU" sz="3200" dirty="0"/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115636286"/>
                  </a:ext>
                </a:extLst>
              </a:tr>
              <a:tr h="609600"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3</a:t>
                      </a:r>
                      <a:endParaRPr lang="ru-RU" sz="32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35</a:t>
                      </a:r>
                      <a:endParaRPr lang="ru-RU" sz="32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2010</a:t>
                      </a:r>
                      <a:endParaRPr lang="ru-RU" sz="32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1</a:t>
                      </a:r>
                      <a:endParaRPr lang="ru-RU" sz="32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5500000</a:t>
                      </a:r>
                      <a:endParaRPr lang="ru-RU" sz="3200" dirty="0"/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33043876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825034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2" name="Content Placeholder 1">
                <a:extLst>
                  <a:ext uri="{FF2B5EF4-FFF2-40B4-BE49-F238E27FC236}">
                    <a16:creationId xmlns:a16="http://schemas.microsoft.com/office/drawing/2014/main" id="{CC42B11A-1CC2-BA4E-B532-3E5F2872EB01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r>
                  <a:rPr lang="ru-RU" dirty="0"/>
                  <a:t>Алгоритм</a:t>
                </a:r>
                <a:r>
                  <a:rPr lang="en-US" dirty="0"/>
                  <a:t> </a:t>
                </a:r>
                <a14:m>
                  <m:oMath xmlns:m="http://schemas.openxmlformats.org/officeDocument/2006/math">
                    <m:r>
                      <a:rPr lang="en-US" i="1" dirty="0" smtClean="0">
                        <a:latin typeface="Cambria Math" panose="02040503050406030204" pitchFamily="18" charset="0"/>
                      </a:rPr>
                      <m:t>𝑎</m:t>
                    </m:r>
                  </m:oMath>
                </a14:m>
                <a:r>
                  <a:rPr lang="ru-RU" dirty="0"/>
                  <a:t> </a:t>
                </a:r>
                <a:r>
                  <a:rPr lang="en-US" dirty="0"/>
                  <a:t>– </a:t>
                </a:r>
                <a:r>
                  <a:rPr lang="ru-RU" dirty="0"/>
                  <a:t>это формула над признаками</a:t>
                </a:r>
              </a:p>
              <a:p>
                <a:r>
                  <a:rPr lang="ru-RU" dirty="0"/>
                  <a:t>Формулы можно придумать разные:</a:t>
                </a:r>
              </a:p>
              <a:p>
                <a:pPr lvl="1"/>
                <a14:m>
                  <m:oMath xmlns:m="http://schemas.openxmlformats.org/officeDocument/2006/math">
                    <m:sSub>
                      <m:sSubPr>
                        <m:ctrlPr>
                          <a:rPr lang="en-US" i="1" dirty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 dirty="0">
                            <a:latin typeface="Cambria Math" charset="0"/>
                          </a:rPr>
                          <m:t>𝑤</m:t>
                        </m:r>
                      </m:e>
                      <m:sub>
                        <m:r>
                          <a:rPr lang="en-US" i="1" dirty="0">
                            <a:latin typeface="Cambria Math" charset="0"/>
                          </a:rPr>
                          <m:t>1</m:t>
                        </m:r>
                      </m:sub>
                    </m:sSub>
                    <m:r>
                      <a:rPr lang="en-US" i="1" dirty="0">
                        <a:latin typeface="Cambria Math" charset="0"/>
                      </a:rPr>
                      <m:t>∗</m:t>
                    </m:r>
                    <m:r>
                      <a:rPr lang="ru-RU" i="1" dirty="0">
                        <a:latin typeface="Cambria Math" charset="0"/>
                      </a:rPr>
                      <m:t>площадь</m:t>
                    </m:r>
                  </m:oMath>
                </a14:m>
                <a:endParaRPr lang="ru-RU" dirty="0"/>
              </a:p>
              <a:p>
                <a:pPr lvl="1"/>
                <a14:m>
                  <m:oMath xmlns:m="http://schemas.openxmlformats.org/officeDocument/2006/math">
                    <m:sSub>
                      <m:sSubPr>
                        <m:ctrlPr>
                          <a:rPr lang="en-US" i="1" dirty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 dirty="0">
                            <a:latin typeface="Cambria Math" charset="0"/>
                          </a:rPr>
                          <m:t>𝑤</m:t>
                        </m:r>
                      </m:e>
                      <m:sub>
                        <m:r>
                          <a:rPr lang="en-US" i="1" dirty="0">
                            <a:latin typeface="Cambria Math" charset="0"/>
                          </a:rPr>
                          <m:t>1</m:t>
                        </m:r>
                      </m:sub>
                    </m:sSub>
                    <m:r>
                      <a:rPr lang="en-US" i="1" dirty="0">
                        <a:latin typeface="Cambria Math" charset="0"/>
                      </a:rPr>
                      <m:t>∗</m:t>
                    </m:r>
                    <m:r>
                      <a:rPr lang="ru-RU" i="1" dirty="0">
                        <a:latin typeface="Cambria Math" charset="0"/>
                      </a:rPr>
                      <m:t>площадь</m:t>
                    </m:r>
                  </m:oMath>
                </a14:m>
                <a:r>
                  <a:rPr lang="ru-RU" dirty="0"/>
                  <a:t> +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 dirty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 dirty="0">
                            <a:latin typeface="Cambria Math" charset="0"/>
                          </a:rPr>
                          <m:t>𝑤</m:t>
                        </m:r>
                      </m:e>
                      <m:sub>
                        <m:r>
                          <a:rPr lang="ru-RU" b="0" i="1" dirty="0" smtClean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lang="en-US" i="1" dirty="0">
                        <a:latin typeface="Cambria Math" charset="0"/>
                      </a:rPr>
                      <m:t>∗</m:t>
                    </m:r>
                    <m:r>
                      <a:rPr lang="ru-RU" b="0" i="1" dirty="0" smtClean="0">
                        <a:latin typeface="Cambria Math" panose="02040503050406030204" pitchFamily="18" charset="0"/>
                      </a:rPr>
                      <m:t>(число комнат)</m:t>
                    </m:r>
                  </m:oMath>
                </a14:m>
                <a:endParaRPr lang="ru-RU" dirty="0"/>
              </a:p>
              <a:p>
                <a:pPr lvl="1"/>
                <a14:m>
                  <m:oMath xmlns:m="http://schemas.openxmlformats.org/officeDocument/2006/math">
                    <m:sSub>
                      <m:sSubPr>
                        <m:ctrlPr>
                          <a:rPr lang="en-US" i="1" dirty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 dirty="0">
                            <a:latin typeface="Cambria Math" charset="0"/>
                          </a:rPr>
                          <m:t>𝑤</m:t>
                        </m:r>
                      </m:e>
                      <m:sub>
                        <m:r>
                          <a:rPr lang="en-US" i="1" dirty="0">
                            <a:latin typeface="Cambria Math" charset="0"/>
                          </a:rPr>
                          <m:t>1</m:t>
                        </m:r>
                      </m:sub>
                    </m:sSub>
                    <m:r>
                      <a:rPr lang="en-US" i="1" dirty="0">
                        <a:latin typeface="Cambria Math" charset="0"/>
                      </a:rPr>
                      <m:t>∗</m:t>
                    </m:r>
                    <m:r>
                      <a:rPr lang="ru-RU" i="1" dirty="0">
                        <a:latin typeface="Cambria Math" charset="0"/>
                      </a:rPr>
                      <m:t>площадь</m:t>
                    </m:r>
                  </m:oMath>
                </a14:m>
                <a:r>
                  <a:rPr lang="ru-RU" dirty="0"/>
                  <a:t> +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 dirty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 dirty="0">
                            <a:latin typeface="Cambria Math" charset="0"/>
                          </a:rPr>
                          <m:t>𝑤</m:t>
                        </m:r>
                      </m:e>
                      <m:sub>
                        <m:r>
                          <a:rPr lang="ru-RU" i="1" dirty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lang="en-US" i="1" dirty="0">
                        <a:latin typeface="Cambria Math" charset="0"/>
                      </a:rPr>
                      <m:t>∗</m:t>
                    </m:r>
                    <m:d>
                      <m:dPr>
                        <m:ctrlPr>
                          <a:rPr lang="ru-RU" i="1" dirty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ru-RU" i="1" dirty="0">
                            <a:latin typeface="Cambria Math" panose="02040503050406030204" pitchFamily="18" charset="0"/>
                          </a:rPr>
                          <m:t>число комнат</m:t>
                        </m:r>
                      </m:e>
                    </m:d>
                    <m:r>
                      <a:rPr lang="ru-RU" b="0" i="1" dirty="0" smtClean="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US" b="0" i="1" dirty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dirty="0" smtClean="0">
                            <a:latin typeface="Cambria Math" panose="02040503050406030204" pitchFamily="18" charset="0"/>
                          </a:rPr>
                          <m:t>𝑤</m:t>
                        </m:r>
                      </m:e>
                      <m:sub>
                        <m:r>
                          <a:rPr lang="en-US" b="0" i="1" dirty="0" smtClean="0">
                            <a:latin typeface="Cambria Math" panose="02040503050406030204" pitchFamily="18" charset="0"/>
                          </a:rPr>
                          <m:t>3</m:t>
                        </m:r>
                      </m:sub>
                    </m:sSub>
                    <m:r>
                      <a:rPr lang="en-US" b="0" i="1" dirty="0" smtClean="0">
                        <a:latin typeface="Cambria Math" panose="02040503050406030204" pitchFamily="18" charset="0"/>
                      </a:rPr>
                      <m:t>∗(</m:t>
                    </m:r>
                    <m:r>
                      <a:rPr lang="ru-RU" b="0" i="1" dirty="0" smtClean="0">
                        <a:latin typeface="Cambria Math" panose="02040503050406030204" pitchFamily="18" charset="0"/>
                      </a:rPr>
                      <m:t>расстояние до метро)</m:t>
                    </m:r>
                  </m:oMath>
                </a14:m>
                <a:endParaRPr lang="ru-RU" dirty="0"/>
              </a:p>
              <a:p>
                <a:pPr marL="609585" lvl="1" indent="0">
                  <a:buNone/>
                </a:pPr>
                <a:endParaRPr lang="ru-RU" dirty="0"/>
              </a:p>
              <a:p>
                <a:endParaRPr lang="ru-RU" dirty="0"/>
              </a:p>
            </p:txBody>
          </p:sp>
        </mc:Choice>
        <mc:Fallback xmlns="">
          <p:sp>
            <p:nvSpPr>
              <p:cNvPr id="2" name="Content Placeholder 1">
                <a:extLst>
                  <a:ext uri="{FF2B5EF4-FFF2-40B4-BE49-F238E27FC236}">
                    <a16:creationId xmlns:a16="http://schemas.microsoft.com/office/drawing/2014/main" id="{CC42B11A-1CC2-BA4E-B532-3E5F2872EB01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>
                <a:blip r:embed="rId2"/>
                <a:stretch>
                  <a:fillRect l="-1194" t="-2257"/>
                </a:stretch>
              </a:blipFill>
            </p:spPr>
            <p:txBody>
              <a:bodyPr/>
              <a:lstStyle/>
              <a:p>
                <a:r>
                  <a:rPr lang="en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Title 2">
            <a:extLst>
              <a:ext uri="{FF2B5EF4-FFF2-40B4-BE49-F238E27FC236}">
                <a16:creationId xmlns:a16="http://schemas.microsoft.com/office/drawing/2014/main" id="{E765C86B-08E6-5F4F-BF2F-1263A0DE77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Алгоритм</a:t>
            </a:r>
          </a:p>
        </p:txBody>
      </p:sp>
      <p:sp>
        <p:nvSpPr>
          <p:cNvPr id="4" name="Alternate Process 3">
            <a:extLst>
              <a:ext uri="{FF2B5EF4-FFF2-40B4-BE49-F238E27FC236}">
                <a16:creationId xmlns:a16="http://schemas.microsoft.com/office/drawing/2014/main" id="{F3A05F3F-69E9-CF40-B667-94BC9A7298E1}"/>
              </a:ext>
            </a:extLst>
          </p:cNvPr>
          <p:cNvSpPr/>
          <p:nvPr/>
        </p:nvSpPr>
        <p:spPr>
          <a:xfrm>
            <a:off x="1236134" y="2190997"/>
            <a:ext cx="524933" cy="518336"/>
          </a:xfrm>
          <a:prstGeom prst="flowChartAlternateProcess">
            <a:avLst/>
          </a:prstGeom>
          <a:noFill/>
          <a:ln w="53975">
            <a:solidFill>
              <a:srgbClr val="FF0000"/>
            </a:solidFill>
            <a:rou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1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Calibri"/>
            </a:endParaRPr>
          </a:p>
        </p:txBody>
      </p:sp>
      <p:sp>
        <p:nvSpPr>
          <p:cNvPr id="5" name="Alternate Process 4">
            <a:extLst>
              <a:ext uri="{FF2B5EF4-FFF2-40B4-BE49-F238E27FC236}">
                <a16:creationId xmlns:a16="http://schemas.microsoft.com/office/drawing/2014/main" id="{C4E9A982-EE37-5242-AE47-DF538CC8B055}"/>
              </a:ext>
            </a:extLst>
          </p:cNvPr>
          <p:cNvSpPr/>
          <p:nvPr/>
        </p:nvSpPr>
        <p:spPr>
          <a:xfrm>
            <a:off x="1236134" y="3217992"/>
            <a:ext cx="524933" cy="518336"/>
          </a:xfrm>
          <a:prstGeom prst="flowChartAlternateProcess">
            <a:avLst/>
          </a:prstGeom>
          <a:noFill/>
          <a:ln w="53975">
            <a:solidFill>
              <a:srgbClr val="FF0000"/>
            </a:solidFill>
            <a:rou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1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Calibri"/>
            </a:endParaRPr>
          </a:p>
        </p:txBody>
      </p:sp>
      <p:sp>
        <p:nvSpPr>
          <p:cNvPr id="7" name="Alternate Process 6">
            <a:extLst>
              <a:ext uri="{FF2B5EF4-FFF2-40B4-BE49-F238E27FC236}">
                <a16:creationId xmlns:a16="http://schemas.microsoft.com/office/drawing/2014/main" id="{466BEC62-42B8-8B41-B897-8E573487FF4C}"/>
              </a:ext>
            </a:extLst>
          </p:cNvPr>
          <p:cNvSpPr/>
          <p:nvPr/>
        </p:nvSpPr>
        <p:spPr>
          <a:xfrm>
            <a:off x="4097867" y="3217992"/>
            <a:ext cx="524933" cy="518336"/>
          </a:xfrm>
          <a:prstGeom prst="flowChartAlternateProcess">
            <a:avLst/>
          </a:prstGeom>
          <a:noFill/>
          <a:ln w="53975">
            <a:solidFill>
              <a:srgbClr val="FF0000"/>
            </a:solidFill>
            <a:rou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1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Calibri"/>
            </a:endParaRPr>
          </a:p>
        </p:txBody>
      </p:sp>
      <p:sp>
        <p:nvSpPr>
          <p:cNvPr id="8" name="Alternate Process 4">
            <a:extLst>
              <a:ext uri="{FF2B5EF4-FFF2-40B4-BE49-F238E27FC236}">
                <a16:creationId xmlns:a16="http://schemas.microsoft.com/office/drawing/2014/main" id="{86490842-F0DB-984C-912C-4C2951992FB4}"/>
              </a:ext>
            </a:extLst>
          </p:cNvPr>
          <p:cNvSpPr/>
          <p:nvPr/>
        </p:nvSpPr>
        <p:spPr>
          <a:xfrm>
            <a:off x="1236134" y="2704495"/>
            <a:ext cx="524933" cy="518336"/>
          </a:xfrm>
          <a:prstGeom prst="flowChartAlternateProcess">
            <a:avLst/>
          </a:prstGeom>
          <a:noFill/>
          <a:ln w="53975">
            <a:solidFill>
              <a:srgbClr val="FF0000"/>
            </a:solidFill>
            <a:rou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1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Calibri"/>
            </a:endParaRPr>
          </a:p>
        </p:txBody>
      </p:sp>
      <p:sp>
        <p:nvSpPr>
          <p:cNvPr id="9" name="Alternate Process 6">
            <a:extLst>
              <a:ext uri="{FF2B5EF4-FFF2-40B4-BE49-F238E27FC236}">
                <a16:creationId xmlns:a16="http://schemas.microsoft.com/office/drawing/2014/main" id="{A3DE7AF7-ADEC-9D46-AE14-91876F9A108F}"/>
              </a:ext>
            </a:extLst>
          </p:cNvPr>
          <p:cNvSpPr/>
          <p:nvPr/>
        </p:nvSpPr>
        <p:spPr>
          <a:xfrm>
            <a:off x="4097867" y="2704495"/>
            <a:ext cx="524933" cy="518336"/>
          </a:xfrm>
          <a:prstGeom prst="flowChartAlternateProcess">
            <a:avLst/>
          </a:prstGeom>
          <a:noFill/>
          <a:ln w="53975">
            <a:solidFill>
              <a:srgbClr val="FF0000"/>
            </a:solidFill>
            <a:rou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1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Calibri"/>
            </a:endParaRPr>
          </a:p>
        </p:txBody>
      </p:sp>
      <p:sp>
        <p:nvSpPr>
          <p:cNvPr id="10" name="Alternate Process 6">
            <a:extLst>
              <a:ext uri="{FF2B5EF4-FFF2-40B4-BE49-F238E27FC236}">
                <a16:creationId xmlns:a16="http://schemas.microsoft.com/office/drawing/2014/main" id="{A9150957-DEF3-4A4E-8859-7B9CB357D862}"/>
              </a:ext>
            </a:extLst>
          </p:cNvPr>
          <p:cNvSpPr/>
          <p:nvPr/>
        </p:nvSpPr>
        <p:spPr>
          <a:xfrm>
            <a:off x="8265219" y="3217992"/>
            <a:ext cx="524933" cy="518336"/>
          </a:xfrm>
          <a:prstGeom prst="flowChartAlternateProcess">
            <a:avLst/>
          </a:prstGeom>
          <a:noFill/>
          <a:ln w="53975">
            <a:solidFill>
              <a:srgbClr val="FF0000"/>
            </a:solidFill>
            <a:rou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1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12696630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2" name="Content Placeholder 1">
                <a:extLst>
                  <a:ext uri="{FF2B5EF4-FFF2-40B4-BE49-F238E27FC236}">
                    <a16:creationId xmlns:a16="http://schemas.microsoft.com/office/drawing/2014/main" id="{CC42B11A-1CC2-BA4E-B532-3E5F2872EB01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r>
                  <a:rPr lang="ru-RU" dirty="0"/>
                  <a:t>Алгоритм</a:t>
                </a:r>
                <a:r>
                  <a:rPr lang="en-US" dirty="0"/>
                  <a:t> </a:t>
                </a:r>
                <a14:m>
                  <m:oMath xmlns:m="http://schemas.openxmlformats.org/officeDocument/2006/math">
                    <m:r>
                      <a:rPr lang="en-US" i="1" dirty="0" smtClean="0">
                        <a:latin typeface="Cambria Math" panose="02040503050406030204" pitchFamily="18" charset="0"/>
                      </a:rPr>
                      <m:t>𝑎</m:t>
                    </m:r>
                  </m:oMath>
                </a14:m>
                <a:r>
                  <a:rPr lang="ru-RU" dirty="0"/>
                  <a:t> </a:t>
                </a:r>
                <a:r>
                  <a:rPr lang="en-US" dirty="0"/>
                  <a:t>– </a:t>
                </a:r>
                <a:r>
                  <a:rPr lang="ru-RU" dirty="0"/>
                  <a:t>это формула над признаками</a:t>
                </a:r>
              </a:p>
              <a:p>
                <a:r>
                  <a:rPr lang="ru-RU" dirty="0"/>
                  <a:t>Формулы можно придумать разные:</a:t>
                </a:r>
              </a:p>
              <a:p>
                <a:pPr marL="609585" lvl="1" indent="0">
                  <a:buNone/>
                </a:pPr>
                <a:endParaRPr lang="ru-RU" dirty="0"/>
              </a:p>
              <a:p>
                <a:endParaRPr lang="ru-RU" dirty="0"/>
              </a:p>
            </p:txBody>
          </p:sp>
        </mc:Choice>
        <mc:Fallback xmlns="">
          <p:sp>
            <p:nvSpPr>
              <p:cNvPr id="2" name="Content Placeholder 1">
                <a:extLst>
                  <a:ext uri="{FF2B5EF4-FFF2-40B4-BE49-F238E27FC236}">
                    <a16:creationId xmlns:a16="http://schemas.microsoft.com/office/drawing/2014/main" id="{CC42B11A-1CC2-BA4E-B532-3E5F2872EB01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>
                <a:blip r:embed="rId2"/>
                <a:stretch>
                  <a:fillRect l="-1194" t="-2257"/>
                </a:stretch>
              </a:blipFill>
            </p:spPr>
            <p:txBody>
              <a:bodyPr/>
              <a:lstStyle/>
              <a:p>
                <a:r>
                  <a:rPr lang="en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Title 2">
            <a:extLst>
              <a:ext uri="{FF2B5EF4-FFF2-40B4-BE49-F238E27FC236}">
                <a16:creationId xmlns:a16="http://schemas.microsoft.com/office/drawing/2014/main" id="{E765C86B-08E6-5F4F-BF2F-1263A0DE77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Алгоритм</a:t>
            </a:r>
          </a:p>
        </p:txBody>
      </p:sp>
      <p:sp>
        <p:nvSpPr>
          <p:cNvPr id="17" name="Rounded Rectangle 16">
            <a:extLst>
              <a:ext uri="{FF2B5EF4-FFF2-40B4-BE49-F238E27FC236}">
                <a16:creationId xmlns:a16="http://schemas.microsoft.com/office/drawing/2014/main" id="{77B953D6-C6E8-9F4D-AA65-377DB3459E98}"/>
              </a:ext>
            </a:extLst>
          </p:cNvPr>
          <p:cNvSpPr/>
          <p:nvPr/>
        </p:nvSpPr>
        <p:spPr>
          <a:xfrm>
            <a:off x="4509808" y="2690433"/>
            <a:ext cx="3545051" cy="555798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1507846"/>
            <a:r>
              <a:rPr lang="ru-RU" sz="2968" b="1" dirty="0">
                <a:solidFill>
                  <a:prstClr val="black"/>
                </a:solidFill>
                <a:latin typeface="Calibri" panose="020F0502020204030204"/>
              </a:rPr>
              <a:t>Площадь </a:t>
            </a:r>
            <a:r>
              <a:rPr lang="en-US" sz="2968" b="1" dirty="0">
                <a:solidFill>
                  <a:prstClr val="black"/>
                </a:solidFill>
                <a:latin typeface="Calibri" panose="020F0502020204030204"/>
              </a:rPr>
              <a:t>&gt; 50?</a:t>
            </a:r>
            <a:endParaRPr lang="en-RU" sz="2968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024B2089-526A-D547-9465-F612CAB182A2}"/>
              </a:ext>
            </a:extLst>
          </p:cNvPr>
          <p:cNvSpPr/>
          <p:nvPr/>
        </p:nvSpPr>
        <p:spPr>
          <a:xfrm>
            <a:off x="1487157" y="3997554"/>
            <a:ext cx="3983082" cy="555798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1507846"/>
            <a:r>
              <a:rPr lang="ru-RU" sz="2968" b="1" dirty="0">
                <a:solidFill>
                  <a:prstClr val="black"/>
                </a:solidFill>
                <a:latin typeface="Calibri" panose="020F0502020204030204"/>
              </a:rPr>
              <a:t>Район = Хамовники</a:t>
            </a:r>
            <a:r>
              <a:rPr lang="en-US" sz="2968" b="1" dirty="0">
                <a:solidFill>
                  <a:prstClr val="black"/>
                </a:solidFill>
                <a:latin typeface="Calibri" panose="020F0502020204030204"/>
              </a:rPr>
              <a:t>?</a:t>
            </a:r>
            <a:endParaRPr lang="en-RU" sz="2968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21159893-98D2-F94A-B0F2-847AD02B4DCB}"/>
              </a:ext>
            </a:extLst>
          </p:cNvPr>
          <p:cNvSpPr/>
          <p:nvPr/>
        </p:nvSpPr>
        <p:spPr>
          <a:xfrm>
            <a:off x="6830592" y="4011153"/>
            <a:ext cx="3983082" cy="555798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1507846"/>
            <a:r>
              <a:rPr lang="ru-RU" sz="2968" b="1" dirty="0">
                <a:solidFill>
                  <a:prstClr val="black"/>
                </a:solidFill>
                <a:latin typeface="Calibri" panose="020F0502020204030204"/>
              </a:rPr>
              <a:t>Комнат больше 2</a:t>
            </a:r>
            <a:r>
              <a:rPr lang="en-US" sz="2968" b="1" dirty="0">
                <a:solidFill>
                  <a:prstClr val="black"/>
                </a:solidFill>
                <a:latin typeface="Calibri" panose="020F0502020204030204"/>
              </a:rPr>
              <a:t>?</a:t>
            </a:r>
            <a:endParaRPr lang="en-RU" sz="2968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5" name="Rounded Rectangle 24">
            <a:extLst>
              <a:ext uri="{FF2B5EF4-FFF2-40B4-BE49-F238E27FC236}">
                <a16:creationId xmlns:a16="http://schemas.microsoft.com/office/drawing/2014/main" id="{8912B6BB-0E5F-854D-B979-A8A09EDBD322}"/>
              </a:ext>
            </a:extLst>
          </p:cNvPr>
          <p:cNvSpPr/>
          <p:nvPr/>
        </p:nvSpPr>
        <p:spPr>
          <a:xfrm>
            <a:off x="1202733" y="5304675"/>
            <a:ext cx="2275965" cy="555798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1507846"/>
            <a:r>
              <a:rPr lang="ru-RU" sz="2968" b="1" dirty="0">
                <a:solidFill>
                  <a:prstClr val="black"/>
                </a:solidFill>
                <a:latin typeface="Calibri" panose="020F0502020204030204"/>
              </a:rPr>
              <a:t>6.000.000</a:t>
            </a:r>
            <a:endParaRPr lang="en-RU" sz="2968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C9111FE8-FA84-6B4C-A527-23FD671FF73D}"/>
              </a:ext>
            </a:extLst>
          </p:cNvPr>
          <p:cNvSpPr/>
          <p:nvPr/>
        </p:nvSpPr>
        <p:spPr>
          <a:xfrm>
            <a:off x="3742533" y="5304675"/>
            <a:ext cx="2275965" cy="555798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1507846"/>
            <a:r>
              <a:rPr lang="ru-RU" sz="2968" b="1" dirty="0">
                <a:solidFill>
                  <a:prstClr val="black"/>
                </a:solidFill>
                <a:latin typeface="Calibri" panose="020F0502020204030204"/>
              </a:rPr>
              <a:t>10.000.000</a:t>
            </a:r>
            <a:endParaRPr lang="en-RU" sz="2968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8" name="Rounded Rectangle 27">
            <a:extLst>
              <a:ext uri="{FF2B5EF4-FFF2-40B4-BE49-F238E27FC236}">
                <a16:creationId xmlns:a16="http://schemas.microsoft.com/office/drawing/2014/main" id="{3F713D17-2A96-4049-B09E-88CEC593FB9A}"/>
              </a:ext>
            </a:extLst>
          </p:cNvPr>
          <p:cNvSpPr/>
          <p:nvPr/>
        </p:nvSpPr>
        <p:spPr>
          <a:xfrm>
            <a:off x="6282333" y="5304675"/>
            <a:ext cx="2275965" cy="555798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1507846"/>
            <a:r>
              <a:rPr lang="en-US" sz="2968" b="1" dirty="0">
                <a:solidFill>
                  <a:prstClr val="black"/>
                </a:solidFill>
                <a:latin typeface="Calibri" panose="020F0502020204030204"/>
              </a:rPr>
              <a:t>15</a:t>
            </a:r>
            <a:r>
              <a:rPr lang="ru-RU" sz="2968" b="1" dirty="0">
                <a:solidFill>
                  <a:prstClr val="black"/>
                </a:solidFill>
                <a:latin typeface="Calibri" panose="020F0502020204030204"/>
              </a:rPr>
              <a:t>.000.000</a:t>
            </a:r>
            <a:endParaRPr lang="en-RU" sz="2968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9" name="Rounded Rectangle 28">
            <a:extLst>
              <a:ext uri="{FF2B5EF4-FFF2-40B4-BE49-F238E27FC236}">
                <a16:creationId xmlns:a16="http://schemas.microsoft.com/office/drawing/2014/main" id="{8268F05C-F8BF-7144-890C-084CF2AB2F3B}"/>
              </a:ext>
            </a:extLst>
          </p:cNvPr>
          <p:cNvSpPr/>
          <p:nvPr/>
        </p:nvSpPr>
        <p:spPr>
          <a:xfrm>
            <a:off x="8822133" y="5304675"/>
            <a:ext cx="2275965" cy="555798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1507846"/>
            <a:r>
              <a:rPr lang="en-US" sz="2968" b="1" dirty="0">
                <a:solidFill>
                  <a:prstClr val="black"/>
                </a:solidFill>
                <a:latin typeface="Calibri" panose="020F0502020204030204"/>
              </a:rPr>
              <a:t>20</a:t>
            </a:r>
            <a:r>
              <a:rPr lang="ru-RU" sz="2968" b="1" dirty="0">
                <a:solidFill>
                  <a:prstClr val="black"/>
                </a:solidFill>
                <a:latin typeface="Calibri" panose="020F0502020204030204"/>
              </a:rPr>
              <a:t>.000.000</a:t>
            </a:r>
            <a:endParaRPr lang="en-RU" sz="2968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F6EC976D-2FF6-9F47-A03C-1F1B2ADC947B}"/>
              </a:ext>
            </a:extLst>
          </p:cNvPr>
          <p:cNvCxnSpPr>
            <a:stCxn id="17" idx="2"/>
            <a:endCxn id="19" idx="0"/>
          </p:cNvCxnSpPr>
          <p:nvPr/>
        </p:nvCxnSpPr>
        <p:spPr>
          <a:xfrm flipH="1">
            <a:off x="3478698" y="3246232"/>
            <a:ext cx="2803635" cy="751323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45D3E8A8-1446-D94B-B473-C286A0E11010}"/>
              </a:ext>
            </a:extLst>
          </p:cNvPr>
          <p:cNvCxnSpPr>
            <a:cxnSpLocks/>
            <a:stCxn id="17" idx="2"/>
            <a:endCxn id="22" idx="0"/>
          </p:cNvCxnSpPr>
          <p:nvPr/>
        </p:nvCxnSpPr>
        <p:spPr>
          <a:xfrm>
            <a:off x="6282334" y="3246231"/>
            <a:ext cx="2539800" cy="764922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9A4FA5A3-385B-A740-BB12-2D3B44B743CD}"/>
              </a:ext>
            </a:extLst>
          </p:cNvPr>
          <p:cNvCxnSpPr>
            <a:cxnSpLocks/>
            <a:stCxn id="19" idx="2"/>
            <a:endCxn id="25" idx="0"/>
          </p:cNvCxnSpPr>
          <p:nvPr/>
        </p:nvCxnSpPr>
        <p:spPr>
          <a:xfrm flipH="1">
            <a:off x="2340716" y="4553353"/>
            <a:ext cx="1137982" cy="751323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177A8809-AA0A-D642-B7AF-59C1E044D9E7}"/>
              </a:ext>
            </a:extLst>
          </p:cNvPr>
          <p:cNvCxnSpPr>
            <a:cxnSpLocks/>
            <a:stCxn id="19" idx="2"/>
            <a:endCxn id="26" idx="0"/>
          </p:cNvCxnSpPr>
          <p:nvPr/>
        </p:nvCxnSpPr>
        <p:spPr>
          <a:xfrm>
            <a:off x="3478699" y="4553353"/>
            <a:ext cx="1401817" cy="751323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4BE3145A-3CAC-D549-89BE-26F0A8E66DEC}"/>
              </a:ext>
            </a:extLst>
          </p:cNvPr>
          <p:cNvCxnSpPr>
            <a:cxnSpLocks/>
            <a:stCxn id="22" idx="2"/>
            <a:endCxn id="28" idx="0"/>
          </p:cNvCxnSpPr>
          <p:nvPr/>
        </p:nvCxnSpPr>
        <p:spPr>
          <a:xfrm flipH="1">
            <a:off x="7420317" y="4566951"/>
            <a:ext cx="1401817" cy="737724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5274A069-3AFA-F441-ADE3-CBB52D1763D9}"/>
              </a:ext>
            </a:extLst>
          </p:cNvPr>
          <p:cNvCxnSpPr>
            <a:cxnSpLocks/>
            <a:stCxn id="22" idx="2"/>
            <a:endCxn id="29" idx="0"/>
          </p:cNvCxnSpPr>
          <p:nvPr/>
        </p:nvCxnSpPr>
        <p:spPr>
          <a:xfrm>
            <a:off x="8822133" y="4566951"/>
            <a:ext cx="1137982" cy="737724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4F89EDAE-8B1D-CD48-A543-AEDDD8A626AD}"/>
              </a:ext>
            </a:extLst>
          </p:cNvPr>
          <p:cNvSpPr txBox="1"/>
          <p:nvPr/>
        </p:nvSpPr>
        <p:spPr>
          <a:xfrm>
            <a:off x="8089316" y="3171338"/>
            <a:ext cx="580608" cy="54906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507846"/>
            <a:r>
              <a:rPr lang="ru-RU" sz="2968" dirty="0">
                <a:solidFill>
                  <a:prstClr val="black"/>
                </a:solidFill>
                <a:latin typeface="Calibri" panose="020F0502020204030204"/>
              </a:rPr>
              <a:t>да</a:t>
            </a:r>
            <a:endParaRPr lang="en-RU" sz="2968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B94E2530-F04D-9046-856F-CBDF1E9C8ABA}"/>
              </a:ext>
            </a:extLst>
          </p:cNvPr>
          <p:cNvSpPr txBox="1"/>
          <p:nvPr/>
        </p:nvSpPr>
        <p:spPr>
          <a:xfrm>
            <a:off x="3405405" y="3161485"/>
            <a:ext cx="723403" cy="54906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507846"/>
            <a:r>
              <a:rPr lang="ru-RU" sz="2968" dirty="0">
                <a:solidFill>
                  <a:prstClr val="black"/>
                </a:solidFill>
                <a:latin typeface="Calibri" panose="020F0502020204030204"/>
              </a:rPr>
              <a:t>нет</a:t>
            </a:r>
            <a:endParaRPr lang="en-RU" sz="2968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55488159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2" name="Content Placeholder 1">
                <a:extLst>
                  <a:ext uri="{FF2B5EF4-FFF2-40B4-BE49-F238E27FC236}">
                    <a16:creationId xmlns:a16="http://schemas.microsoft.com/office/drawing/2014/main" id="{CC42B11A-1CC2-BA4E-B532-3E5F2872EB01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r>
                  <a:rPr lang="ru-RU" dirty="0"/>
                  <a:t>Алгоритм</a:t>
                </a:r>
                <a:r>
                  <a:rPr lang="en-US" dirty="0"/>
                  <a:t> </a:t>
                </a:r>
                <a14:m>
                  <m:oMath xmlns:m="http://schemas.openxmlformats.org/officeDocument/2006/math">
                    <m:r>
                      <a:rPr lang="en-US" i="1" dirty="0" smtClean="0">
                        <a:latin typeface="Cambria Math" panose="02040503050406030204" pitchFamily="18" charset="0"/>
                      </a:rPr>
                      <m:t>𝑎</m:t>
                    </m:r>
                  </m:oMath>
                </a14:m>
                <a:r>
                  <a:rPr lang="ru-RU" dirty="0"/>
                  <a:t> </a:t>
                </a:r>
                <a:r>
                  <a:rPr lang="en-US" dirty="0"/>
                  <a:t>– </a:t>
                </a:r>
                <a:r>
                  <a:rPr lang="ru-RU" dirty="0"/>
                  <a:t>это формула над признаками</a:t>
                </a:r>
              </a:p>
              <a:p>
                <a:r>
                  <a:rPr lang="ru-RU" dirty="0"/>
                  <a:t>Формулы можно придумать разные:</a:t>
                </a:r>
              </a:p>
              <a:p>
                <a:pPr marL="609557" lvl="1" indent="0">
                  <a:buNone/>
                </a:pPr>
                <a:endParaRPr lang="ru-RU" dirty="0"/>
              </a:p>
              <a:p>
                <a:endParaRPr lang="ru-RU" dirty="0"/>
              </a:p>
            </p:txBody>
          </p:sp>
        </mc:Choice>
        <mc:Fallback xmlns="">
          <p:sp>
            <p:nvSpPr>
              <p:cNvPr id="2" name="Content Placeholder 1">
                <a:extLst>
                  <a:ext uri="{FF2B5EF4-FFF2-40B4-BE49-F238E27FC236}">
                    <a16:creationId xmlns:a16="http://schemas.microsoft.com/office/drawing/2014/main" id="{CC42B11A-1CC2-BA4E-B532-3E5F2872EB01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>
                <a:blip r:embed="rId2"/>
                <a:stretch>
                  <a:fillRect l="-1194" t="-2257"/>
                </a:stretch>
              </a:blipFill>
            </p:spPr>
            <p:txBody>
              <a:bodyPr/>
              <a:lstStyle/>
              <a:p>
                <a:r>
                  <a:rPr lang="en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Title 2">
            <a:extLst>
              <a:ext uri="{FF2B5EF4-FFF2-40B4-BE49-F238E27FC236}">
                <a16:creationId xmlns:a16="http://schemas.microsoft.com/office/drawing/2014/main" id="{E765C86B-08E6-5F4F-BF2F-1263A0DE77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Алгоритм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FE87F167-CFEE-D440-BFAD-BE846B8207C0}"/>
                  </a:ext>
                </a:extLst>
              </p:cNvPr>
              <p:cNvSpPr/>
              <p:nvPr/>
            </p:nvSpPr>
            <p:spPr>
              <a:xfrm>
                <a:off x="2903557" y="2903464"/>
                <a:ext cx="720030" cy="720030"/>
              </a:xfrm>
              <a:prstGeom prst="ellipse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58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400" b="1" i="1" dirty="0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400" b="1" i="1" dirty="0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  <m:t>𝒙</m:t>
                          </m:r>
                        </m:e>
                        <m:sub>
                          <m:r>
                            <a:rPr lang="en-US" sz="2400" b="1" i="1" dirty="0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sub>
                      </m:sSub>
                    </m:oMath>
                  </m:oMathPara>
                </a14:m>
                <a:endParaRPr lang="ru-RU" sz="2400" b="1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</mc:Choice>
        <mc:Fallback xmlns=""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FE87F167-CFEE-D440-BFAD-BE846B8207C0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03557" y="2903464"/>
                <a:ext cx="720030" cy="720030"/>
              </a:xfrm>
              <a:prstGeom prst="ellipse">
                <a:avLst/>
              </a:prstGeom>
              <a:blipFill>
                <a:blip r:embed="rId4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" name="Oval 24">
                <a:extLst>
                  <a:ext uri="{FF2B5EF4-FFF2-40B4-BE49-F238E27FC236}">
                    <a16:creationId xmlns:a16="http://schemas.microsoft.com/office/drawing/2014/main" id="{E460C62B-0FD8-CA45-869E-C386DCC7D742}"/>
                  </a:ext>
                </a:extLst>
              </p:cNvPr>
              <p:cNvSpPr/>
              <p:nvPr/>
            </p:nvSpPr>
            <p:spPr>
              <a:xfrm>
                <a:off x="2885112" y="3911505"/>
                <a:ext cx="720030" cy="720030"/>
              </a:xfrm>
              <a:prstGeom prst="ellipse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58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400" b="1" i="1" dirty="0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400" b="1" i="1" dirty="0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  <m:t>𝒙</m:t>
                          </m:r>
                        </m:e>
                        <m:sub>
                          <m:r>
                            <a:rPr lang="en-US" sz="2400" b="1" i="1" dirty="0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  <m:t>𝟐</m:t>
                          </m:r>
                        </m:sub>
                      </m:sSub>
                    </m:oMath>
                  </m:oMathPara>
                </a14:m>
                <a:endParaRPr lang="ru-RU" sz="2400" b="1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</mc:Choice>
        <mc:Fallback xmlns="">
          <p:sp>
            <p:nvSpPr>
              <p:cNvPr id="25" name="Oval 24">
                <a:extLst>
                  <a:ext uri="{FF2B5EF4-FFF2-40B4-BE49-F238E27FC236}">
                    <a16:creationId xmlns:a16="http://schemas.microsoft.com/office/drawing/2014/main" id="{E460C62B-0FD8-CA45-869E-C386DCC7D742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85112" y="3911505"/>
                <a:ext cx="720030" cy="720030"/>
              </a:xfrm>
              <a:prstGeom prst="ellipse">
                <a:avLst/>
              </a:prstGeom>
              <a:blipFill>
                <a:blip r:embed="rId5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FB7095AD-C002-3045-A485-6C973B58E8B6}"/>
                  </a:ext>
                </a:extLst>
              </p:cNvPr>
              <p:cNvSpPr/>
              <p:nvPr/>
            </p:nvSpPr>
            <p:spPr>
              <a:xfrm>
                <a:off x="5135648" y="2641246"/>
                <a:ext cx="720030" cy="720030"/>
              </a:xfrm>
              <a:prstGeom prst="ellipse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58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400" b="1" i="1" dirty="0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400" b="1" i="1" dirty="0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  <m:t>𝒛</m:t>
                          </m:r>
                        </m:e>
                        <m:sub>
                          <m:r>
                            <a:rPr lang="en-US" sz="2400" b="1" i="1" dirty="0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sub>
                      </m:sSub>
                    </m:oMath>
                  </m:oMathPara>
                </a14:m>
                <a:endParaRPr lang="ru-RU" sz="2400" b="1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</mc:Choice>
        <mc:Fallback xmlns=""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FB7095AD-C002-3045-A485-6C973B58E8B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35648" y="2641246"/>
                <a:ext cx="720030" cy="720030"/>
              </a:xfrm>
              <a:prstGeom prst="ellipse">
                <a:avLst/>
              </a:prstGeom>
              <a:blipFill>
                <a:blip r:embed="rId6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" name="Oval 27">
                <a:extLst>
                  <a:ext uri="{FF2B5EF4-FFF2-40B4-BE49-F238E27FC236}">
                    <a16:creationId xmlns:a16="http://schemas.microsoft.com/office/drawing/2014/main" id="{8D6C1C77-CE63-4C47-9752-088FA46FA86E}"/>
                  </a:ext>
                </a:extLst>
              </p:cNvPr>
              <p:cNvSpPr/>
              <p:nvPr/>
            </p:nvSpPr>
            <p:spPr>
              <a:xfrm>
                <a:off x="5135648" y="3419431"/>
                <a:ext cx="720030" cy="720030"/>
              </a:xfrm>
              <a:prstGeom prst="ellipse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58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400" b="1" i="1" dirty="0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400" b="1" i="1" dirty="0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  <m:t>𝒛</m:t>
                          </m:r>
                        </m:e>
                        <m:sub>
                          <m:r>
                            <a:rPr lang="en-US" sz="2400" b="1" i="1" dirty="0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  <m:t>𝟐</m:t>
                          </m:r>
                        </m:sub>
                      </m:sSub>
                    </m:oMath>
                  </m:oMathPara>
                </a14:m>
                <a:endParaRPr lang="ru-RU" sz="2400" b="1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</mc:Choice>
        <mc:Fallback xmlns="">
          <p:sp>
            <p:nvSpPr>
              <p:cNvPr id="28" name="Oval 27">
                <a:extLst>
                  <a:ext uri="{FF2B5EF4-FFF2-40B4-BE49-F238E27FC236}">
                    <a16:creationId xmlns:a16="http://schemas.microsoft.com/office/drawing/2014/main" id="{8D6C1C77-CE63-4C47-9752-088FA46FA86E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35648" y="3419431"/>
                <a:ext cx="720030" cy="720030"/>
              </a:xfrm>
              <a:prstGeom prst="ellipse">
                <a:avLst/>
              </a:prstGeom>
              <a:blipFill>
                <a:blip r:embed="rId7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9" name="Oval 28">
                <a:extLst>
                  <a:ext uri="{FF2B5EF4-FFF2-40B4-BE49-F238E27FC236}">
                    <a16:creationId xmlns:a16="http://schemas.microsoft.com/office/drawing/2014/main" id="{09E306E5-A75F-E440-B090-1ACE4816158B}"/>
                  </a:ext>
                </a:extLst>
              </p:cNvPr>
              <p:cNvSpPr/>
              <p:nvPr/>
            </p:nvSpPr>
            <p:spPr>
              <a:xfrm>
                <a:off x="5135648" y="4203618"/>
                <a:ext cx="720030" cy="720030"/>
              </a:xfrm>
              <a:prstGeom prst="ellipse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58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400" b="1" i="1" dirty="0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400" b="1" i="1" dirty="0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  <m:t>𝒛</m:t>
                          </m:r>
                        </m:e>
                        <m:sub>
                          <m:r>
                            <a:rPr lang="en-US" sz="2400" b="1" i="1" dirty="0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  <m:t>𝟑</m:t>
                          </m:r>
                        </m:sub>
                      </m:sSub>
                    </m:oMath>
                  </m:oMathPara>
                </a14:m>
                <a:endParaRPr lang="ru-RU" sz="2400" b="1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</mc:Choice>
        <mc:Fallback xmlns="">
          <p:sp>
            <p:nvSpPr>
              <p:cNvPr id="29" name="Oval 28">
                <a:extLst>
                  <a:ext uri="{FF2B5EF4-FFF2-40B4-BE49-F238E27FC236}">
                    <a16:creationId xmlns:a16="http://schemas.microsoft.com/office/drawing/2014/main" id="{09E306E5-A75F-E440-B090-1ACE4816158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35648" y="4203618"/>
                <a:ext cx="720030" cy="720030"/>
              </a:xfrm>
              <a:prstGeom prst="ellipse">
                <a:avLst/>
              </a:prstGeom>
              <a:blipFill>
                <a:blip r:embed="rId8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" name="Oval 30">
                <a:extLst>
                  <a:ext uri="{FF2B5EF4-FFF2-40B4-BE49-F238E27FC236}">
                    <a16:creationId xmlns:a16="http://schemas.microsoft.com/office/drawing/2014/main" id="{AD6593FC-7F83-D046-B04C-3ABCF247ECC4}"/>
                  </a:ext>
                </a:extLst>
              </p:cNvPr>
              <p:cNvSpPr/>
              <p:nvPr/>
            </p:nvSpPr>
            <p:spPr>
              <a:xfrm>
                <a:off x="8955157" y="3413776"/>
                <a:ext cx="720030" cy="720030"/>
              </a:xfrm>
              <a:prstGeom prst="ellipse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58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en-US" sz="2400" b="1" i="1" dirty="0">
                          <a:solidFill>
                            <a:prstClr val="black"/>
                          </a:solidFill>
                          <a:latin typeface="Cambria Math" panose="02040503050406030204" pitchFamily="18" charset="0"/>
                        </a:rPr>
                        <m:t>𝒂</m:t>
                      </m:r>
                    </m:oMath>
                  </m:oMathPara>
                </a14:m>
                <a:endParaRPr lang="ru-RU" sz="2400" b="1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</mc:Choice>
        <mc:Fallback xmlns="">
          <p:sp>
            <p:nvSpPr>
              <p:cNvPr id="31" name="Oval 30">
                <a:extLst>
                  <a:ext uri="{FF2B5EF4-FFF2-40B4-BE49-F238E27FC236}">
                    <a16:creationId xmlns:a16="http://schemas.microsoft.com/office/drawing/2014/main" id="{AD6593FC-7F83-D046-B04C-3ABCF247ECC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955157" y="3413776"/>
                <a:ext cx="720030" cy="720030"/>
              </a:xfrm>
              <a:prstGeom prst="ellipse">
                <a:avLst/>
              </a:prstGeom>
              <a:blipFill>
                <a:blip r:embed="rId9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RU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9F6814BE-1891-8F49-8A38-7288E9B421EF}"/>
              </a:ext>
            </a:extLst>
          </p:cNvPr>
          <p:cNvCxnSpPr>
            <a:cxnSpLocks/>
            <a:stCxn id="22" idx="6"/>
          </p:cNvCxnSpPr>
          <p:nvPr/>
        </p:nvCxnSpPr>
        <p:spPr>
          <a:xfrm flipV="1">
            <a:off x="3623586" y="3009542"/>
            <a:ext cx="1512062" cy="253938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137A02CA-5D88-BF48-A36B-7C6906DEC7E9}"/>
              </a:ext>
            </a:extLst>
          </p:cNvPr>
          <p:cNvCxnSpPr>
            <a:cxnSpLocks/>
            <a:stCxn id="22" idx="6"/>
            <a:endCxn id="28" idx="2"/>
          </p:cNvCxnSpPr>
          <p:nvPr/>
        </p:nvCxnSpPr>
        <p:spPr>
          <a:xfrm>
            <a:off x="3623586" y="3263480"/>
            <a:ext cx="1512062" cy="515968"/>
          </a:xfrm>
          <a:prstGeom prst="straightConnector1">
            <a:avLst/>
          </a:prstGeom>
          <a:ln w="28575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C99C9D44-7BAC-A042-8119-E659F09F84BD}"/>
              </a:ext>
            </a:extLst>
          </p:cNvPr>
          <p:cNvCxnSpPr>
            <a:cxnSpLocks/>
            <a:stCxn id="22" idx="6"/>
            <a:endCxn id="29" idx="2"/>
          </p:cNvCxnSpPr>
          <p:nvPr/>
        </p:nvCxnSpPr>
        <p:spPr>
          <a:xfrm>
            <a:off x="3623586" y="3263479"/>
            <a:ext cx="1512062" cy="1300156"/>
          </a:xfrm>
          <a:prstGeom prst="straightConnector1">
            <a:avLst/>
          </a:prstGeom>
          <a:ln w="28575">
            <a:solidFill>
              <a:schemeClr val="tx2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5000FEEB-895C-6E49-BEFE-99B435620620}"/>
              </a:ext>
            </a:extLst>
          </p:cNvPr>
          <p:cNvCxnSpPr>
            <a:cxnSpLocks/>
            <a:stCxn id="25" idx="6"/>
            <a:endCxn id="26" idx="2"/>
          </p:cNvCxnSpPr>
          <p:nvPr/>
        </p:nvCxnSpPr>
        <p:spPr>
          <a:xfrm flipV="1">
            <a:off x="3605145" y="3001265"/>
            <a:ext cx="1530506" cy="1270258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1B72EA37-9347-0E45-9517-45419477F4B4}"/>
              </a:ext>
            </a:extLst>
          </p:cNvPr>
          <p:cNvCxnSpPr>
            <a:cxnSpLocks/>
            <a:stCxn id="25" idx="6"/>
          </p:cNvCxnSpPr>
          <p:nvPr/>
        </p:nvCxnSpPr>
        <p:spPr>
          <a:xfrm flipV="1">
            <a:off x="3605145" y="3773792"/>
            <a:ext cx="1530506" cy="497729"/>
          </a:xfrm>
          <a:prstGeom prst="straightConnector1">
            <a:avLst/>
          </a:prstGeom>
          <a:ln w="28575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A17FAF5D-EADE-034D-B61C-8E61B753D319}"/>
              </a:ext>
            </a:extLst>
          </p:cNvPr>
          <p:cNvCxnSpPr>
            <a:cxnSpLocks/>
            <a:stCxn id="25" idx="6"/>
            <a:endCxn id="29" idx="2"/>
          </p:cNvCxnSpPr>
          <p:nvPr/>
        </p:nvCxnSpPr>
        <p:spPr>
          <a:xfrm>
            <a:off x="3605145" y="4271521"/>
            <a:ext cx="1530506" cy="292114"/>
          </a:xfrm>
          <a:prstGeom prst="straightConnector1">
            <a:avLst/>
          </a:prstGeom>
          <a:ln w="28575">
            <a:solidFill>
              <a:schemeClr val="tx2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8D9189AA-844C-DF43-8A66-F6AD3F4B37C0}"/>
              </a:ext>
            </a:extLst>
          </p:cNvPr>
          <p:cNvCxnSpPr>
            <a:cxnSpLocks/>
            <a:stCxn id="26" idx="6"/>
            <a:endCxn id="43" idx="2"/>
          </p:cNvCxnSpPr>
          <p:nvPr/>
        </p:nvCxnSpPr>
        <p:spPr>
          <a:xfrm>
            <a:off x="5855678" y="3001264"/>
            <a:ext cx="1673814" cy="335509"/>
          </a:xfrm>
          <a:prstGeom prst="straightConnector1">
            <a:avLst/>
          </a:prstGeom>
          <a:ln w="28575">
            <a:solidFill>
              <a:srgbClr val="7030A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4C0EEC14-D5FA-D94B-B88B-94F2A3A979A8}"/>
              </a:ext>
            </a:extLst>
          </p:cNvPr>
          <p:cNvCxnSpPr>
            <a:cxnSpLocks/>
            <a:endCxn id="43" idx="2"/>
          </p:cNvCxnSpPr>
          <p:nvPr/>
        </p:nvCxnSpPr>
        <p:spPr>
          <a:xfrm flipV="1">
            <a:off x="5855678" y="3336772"/>
            <a:ext cx="1673814" cy="442676"/>
          </a:xfrm>
          <a:prstGeom prst="straightConnector1">
            <a:avLst/>
          </a:prstGeom>
          <a:ln w="28575">
            <a:solidFill>
              <a:srgbClr val="7030A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D7E9E755-1BDE-E14C-9EBF-E93E30EA5F80}"/>
              </a:ext>
            </a:extLst>
          </p:cNvPr>
          <p:cNvCxnSpPr>
            <a:cxnSpLocks/>
            <a:endCxn id="43" idx="2"/>
          </p:cNvCxnSpPr>
          <p:nvPr/>
        </p:nvCxnSpPr>
        <p:spPr>
          <a:xfrm flipV="1">
            <a:off x="5855678" y="3336771"/>
            <a:ext cx="1673814" cy="1226862"/>
          </a:xfrm>
          <a:prstGeom prst="straightConnector1">
            <a:avLst/>
          </a:prstGeom>
          <a:ln w="28575">
            <a:solidFill>
              <a:srgbClr val="7030A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43" name="Oval 42">
                <a:extLst>
                  <a:ext uri="{FF2B5EF4-FFF2-40B4-BE49-F238E27FC236}">
                    <a16:creationId xmlns:a16="http://schemas.microsoft.com/office/drawing/2014/main" id="{E23CF5D5-85F1-A042-82BB-F66469D82723}"/>
                  </a:ext>
                </a:extLst>
              </p:cNvPr>
              <p:cNvSpPr/>
              <p:nvPr/>
            </p:nvSpPr>
            <p:spPr>
              <a:xfrm>
                <a:off x="7529492" y="2976756"/>
                <a:ext cx="720030" cy="720030"/>
              </a:xfrm>
              <a:prstGeom prst="ellipse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58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400" b="1" i="1" dirty="0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400" b="1" i="1" dirty="0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  <m:t>𝒉</m:t>
                          </m:r>
                        </m:e>
                        <m:sub>
                          <m:r>
                            <a:rPr lang="en-US" sz="2400" b="1" i="1" dirty="0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sub>
                      </m:sSub>
                    </m:oMath>
                  </m:oMathPara>
                </a14:m>
                <a:endParaRPr lang="ru-RU" sz="2400" b="1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</mc:Choice>
        <mc:Fallback xmlns="">
          <p:sp>
            <p:nvSpPr>
              <p:cNvPr id="43" name="Oval 42">
                <a:extLst>
                  <a:ext uri="{FF2B5EF4-FFF2-40B4-BE49-F238E27FC236}">
                    <a16:creationId xmlns:a16="http://schemas.microsoft.com/office/drawing/2014/main" id="{E23CF5D5-85F1-A042-82BB-F66469D82723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529492" y="2976756"/>
                <a:ext cx="720030" cy="720030"/>
              </a:xfrm>
              <a:prstGeom prst="ellipse">
                <a:avLst/>
              </a:prstGeom>
              <a:blipFill>
                <a:blip r:embed="rId10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4" name="Oval 43">
                <a:extLst>
                  <a:ext uri="{FF2B5EF4-FFF2-40B4-BE49-F238E27FC236}">
                    <a16:creationId xmlns:a16="http://schemas.microsoft.com/office/drawing/2014/main" id="{EAD7BC41-E147-EF48-9167-F86FAC795C74}"/>
                  </a:ext>
                </a:extLst>
              </p:cNvPr>
              <p:cNvSpPr/>
              <p:nvPr/>
            </p:nvSpPr>
            <p:spPr>
              <a:xfrm>
                <a:off x="7529492" y="3952493"/>
                <a:ext cx="720030" cy="720030"/>
              </a:xfrm>
              <a:prstGeom prst="ellipse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58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400" b="1" i="1" dirty="0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400" b="1" i="1" dirty="0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  <m:t>𝒉</m:t>
                          </m:r>
                        </m:e>
                        <m:sub>
                          <m:r>
                            <a:rPr lang="en-US" sz="2400" b="1" i="1" dirty="0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  <m:t>𝟐</m:t>
                          </m:r>
                        </m:sub>
                      </m:sSub>
                    </m:oMath>
                  </m:oMathPara>
                </a14:m>
                <a:endParaRPr lang="ru-RU" sz="2400" b="1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</mc:Choice>
        <mc:Fallback xmlns="">
          <p:sp>
            <p:nvSpPr>
              <p:cNvPr id="44" name="Oval 43">
                <a:extLst>
                  <a:ext uri="{FF2B5EF4-FFF2-40B4-BE49-F238E27FC236}">
                    <a16:creationId xmlns:a16="http://schemas.microsoft.com/office/drawing/2014/main" id="{EAD7BC41-E147-EF48-9167-F86FAC795C7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529492" y="3952493"/>
                <a:ext cx="720030" cy="720030"/>
              </a:xfrm>
              <a:prstGeom prst="ellipse">
                <a:avLst/>
              </a:prstGeom>
              <a:blipFill>
                <a:blip r:embed="rId11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RU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5DB67ED8-E560-714E-9C23-A44B585D3E94}"/>
              </a:ext>
            </a:extLst>
          </p:cNvPr>
          <p:cNvCxnSpPr>
            <a:cxnSpLocks/>
            <a:stCxn id="26" idx="6"/>
            <a:endCxn id="44" idx="2"/>
          </p:cNvCxnSpPr>
          <p:nvPr/>
        </p:nvCxnSpPr>
        <p:spPr>
          <a:xfrm>
            <a:off x="5855678" y="3001262"/>
            <a:ext cx="1673814" cy="1311247"/>
          </a:xfrm>
          <a:prstGeom prst="straightConnector1">
            <a:avLst/>
          </a:prstGeom>
          <a:ln w="28575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F34115DA-2D0A-0145-B003-4F2AD303F8A2}"/>
              </a:ext>
            </a:extLst>
          </p:cNvPr>
          <p:cNvCxnSpPr>
            <a:cxnSpLocks/>
            <a:stCxn id="28" idx="6"/>
            <a:endCxn id="44" idx="2"/>
          </p:cNvCxnSpPr>
          <p:nvPr/>
        </p:nvCxnSpPr>
        <p:spPr>
          <a:xfrm>
            <a:off x="5855678" y="3779449"/>
            <a:ext cx="1673814" cy="533062"/>
          </a:xfrm>
          <a:prstGeom prst="straightConnector1">
            <a:avLst/>
          </a:prstGeom>
          <a:ln w="28575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89230E0C-CC82-204E-8B83-637AB61E934B}"/>
              </a:ext>
            </a:extLst>
          </p:cNvPr>
          <p:cNvCxnSpPr>
            <a:cxnSpLocks/>
            <a:stCxn id="29" idx="6"/>
            <a:endCxn id="44" idx="2"/>
          </p:cNvCxnSpPr>
          <p:nvPr/>
        </p:nvCxnSpPr>
        <p:spPr>
          <a:xfrm flipV="1">
            <a:off x="5855678" y="4312510"/>
            <a:ext cx="1673814" cy="251125"/>
          </a:xfrm>
          <a:prstGeom prst="straightConnector1">
            <a:avLst/>
          </a:prstGeom>
          <a:ln w="28575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D4D96CED-9E84-964E-AB8B-30C4236B142D}"/>
              </a:ext>
            </a:extLst>
          </p:cNvPr>
          <p:cNvCxnSpPr>
            <a:cxnSpLocks/>
            <a:stCxn id="43" idx="6"/>
            <a:endCxn id="31" idx="2"/>
          </p:cNvCxnSpPr>
          <p:nvPr/>
        </p:nvCxnSpPr>
        <p:spPr>
          <a:xfrm>
            <a:off x="8249524" y="3336772"/>
            <a:ext cx="705635" cy="437020"/>
          </a:xfrm>
          <a:prstGeom prst="straightConnector1">
            <a:avLst/>
          </a:prstGeom>
          <a:ln w="28575">
            <a:solidFill>
              <a:srgbClr val="F05EA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56116209-D8CE-364A-B9AB-EC2EA907B1FF}"/>
              </a:ext>
            </a:extLst>
          </p:cNvPr>
          <p:cNvCxnSpPr>
            <a:cxnSpLocks/>
            <a:stCxn id="44" idx="6"/>
            <a:endCxn id="31" idx="2"/>
          </p:cNvCxnSpPr>
          <p:nvPr/>
        </p:nvCxnSpPr>
        <p:spPr>
          <a:xfrm flipV="1">
            <a:off x="8249524" y="3773793"/>
            <a:ext cx="705635" cy="538717"/>
          </a:xfrm>
          <a:prstGeom prst="straightConnector1">
            <a:avLst/>
          </a:prstGeom>
          <a:ln w="28575">
            <a:solidFill>
              <a:srgbClr val="F05EA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019022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2" name="Content Placeholder 1">
                <a:extLst>
                  <a:ext uri="{FF2B5EF4-FFF2-40B4-BE49-F238E27FC236}">
                    <a16:creationId xmlns:a16="http://schemas.microsoft.com/office/drawing/2014/main" id="{CC42B11A-1CC2-BA4E-B532-3E5F2872EB01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r>
                  <a:rPr lang="ru-RU" dirty="0"/>
                  <a:t>Алгоритм</a:t>
                </a:r>
                <a:r>
                  <a:rPr lang="en-US" dirty="0"/>
                  <a:t> </a:t>
                </a:r>
                <a14:m>
                  <m:oMath xmlns:m="http://schemas.openxmlformats.org/officeDocument/2006/math">
                    <m:r>
                      <a:rPr lang="en-US" i="1" dirty="0" smtClean="0">
                        <a:latin typeface="Cambria Math" panose="02040503050406030204" pitchFamily="18" charset="0"/>
                      </a:rPr>
                      <m:t>𝑎</m:t>
                    </m:r>
                  </m:oMath>
                </a14:m>
                <a:r>
                  <a:rPr lang="ru-RU" dirty="0"/>
                  <a:t> </a:t>
                </a:r>
                <a:r>
                  <a:rPr lang="en-US" dirty="0"/>
                  <a:t>– </a:t>
                </a:r>
                <a:r>
                  <a:rPr lang="ru-RU" dirty="0"/>
                  <a:t>это формула над признаками</a:t>
                </a:r>
              </a:p>
              <a:p>
                <a:r>
                  <a:rPr lang="ru-RU" dirty="0"/>
                  <a:t>Формулы можно придумать разные:</a:t>
                </a:r>
              </a:p>
              <a:p>
                <a:pPr lvl="1"/>
                <a14:m>
                  <m:oMath xmlns:m="http://schemas.openxmlformats.org/officeDocument/2006/math">
                    <m:sSub>
                      <m:sSubPr>
                        <m:ctrlPr>
                          <a:rPr lang="en-US" i="1" dirty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 dirty="0">
                            <a:latin typeface="Cambria Math" charset="0"/>
                          </a:rPr>
                          <m:t>𝑤</m:t>
                        </m:r>
                      </m:e>
                      <m:sub>
                        <m:r>
                          <a:rPr lang="en-US" i="1" dirty="0">
                            <a:latin typeface="Cambria Math" charset="0"/>
                          </a:rPr>
                          <m:t>1</m:t>
                        </m:r>
                      </m:sub>
                    </m:sSub>
                    <m:r>
                      <a:rPr lang="en-US" i="1" dirty="0">
                        <a:latin typeface="Cambria Math" charset="0"/>
                      </a:rPr>
                      <m:t>∗</m:t>
                    </m:r>
                    <m:r>
                      <a:rPr lang="ru-RU" i="1" dirty="0">
                        <a:latin typeface="Cambria Math" charset="0"/>
                      </a:rPr>
                      <m:t>площадь</m:t>
                    </m:r>
                  </m:oMath>
                </a14:m>
                <a:endParaRPr lang="ru-RU" dirty="0"/>
              </a:p>
              <a:p>
                <a:pPr lvl="1"/>
                <a14:m>
                  <m:oMath xmlns:m="http://schemas.openxmlformats.org/officeDocument/2006/math">
                    <m:sSub>
                      <m:sSubPr>
                        <m:ctrlPr>
                          <a:rPr lang="en-US" i="1" dirty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 dirty="0">
                            <a:latin typeface="Cambria Math" charset="0"/>
                          </a:rPr>
                          <m:t>𝑤</m:t>
                        </m:r>
                      </m:e>
                      <m:sub>
                        <m:r>
                          <a:rPr lang="en-US" i="1" dirty="0">
                            <a:latin typeface="Cambria Math" charset="0"/>
                          </a:rPr>
                          <m:t>1</m:t>
                        </m:r>
                      </m:sub>
                    </m:sSub>
                    <m:r>
                      <a:rPr lang="en-US" i="1" dirty="0">
                        <a:latin typeface="Cambria Math" charset="0"/>
                      </a:rPr>
                      <m:t>∗</m:t>
                    </m:r>
                    <m:r>
                      <a:rPr lang="ru-RU" i="1" dirty="0">
                        <a:latin typeface="Cambria Math" charset="0"/>
                      </a:rPr>
                      <m:t>площадь</m:t>
                    </m:r>
                  </m:oMath>
                </a14:m>
                <a:r>
                  <a:rPr lang="ru-RU" dirty="0"/>
                  <a:t> +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 dirty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 dirty="0">
                            <a:latin typeface="Cambria Math" charset="0"/>
                          </a:rPr>
                          <m:t>𝑤</m:t>
                        </m:r>
                      </m:e>
                      <m:sub>
                        <m:r>
                          <a:rPr lang="ru-RU" b="0" i="1" dirty="0" smtClean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lang="en-US" i="1" dirty="0">
                        <a:latin typeface="Cambria Math" charset="0"/>
                      </a:rPr>
                      <m:t>∗</m:t>
                    </m:r>
                    <m:r>
                      <a:rPr lang="ru-RU" b="0" i="1" dirty="0" smtClean="0">
                        <a:latin typeface="Cambria Math" panose="02040503050406030204" pitchFamily="18" charset="0"/>
                      </a:rPr>
                      <m:t>(число комнат)</m:t>
                    </m:r>
                  </m:oMath>
                </a14:m>
                <a:endParaRPr lang="ru-RU" dirty="0"/>
              </a:p>
              <a:p>
                <a:pPr lvl="1"/>
                <a14:m>
                  <m:oMath xmlns:m="http://schemas.openxmlformats.org/officeDocument/2006/math">
                    <m:sSub>
                      <m:sSubPr>
                        <m:ctrlPr>
                          <a:rPr lang="en-US" i="1" dirty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 dirty="0">
                            <a:latin typeface="Cambria Math" charset="0"/>
                          </a:rPr>
                          <m:t>𝑤</m:t>
                        </m:r>
                      </m:e>
                      <m:sub>
                        <m:r>
                          <a:rPr lang="en-US" i="1" dirty="0">
                            <a:latin typeface="Cambria Math" charset="0"/>
                          </a:rPr>
                          <m:t>1</m:t>
                        </m:r>
                      </m:sub>
                    </m:sSub>
                    <m:r>
                      <a:rPr lang="en-US" i="1" dirty="0">
                        <a:latin typeface="Cambria Math" charset="0"/>
                      </a:rPr>
                      <m:t>∗</m:t>
                    </m:r>
                    <m:r>
                      <a:rPr lang="ru-RU" i="1" dirty="0">
                        <a:latin typeface="Cambria Math" charset="0"/>
                      </a:rPr>
                      <m:t>площадь</m:t>
                    </m:r>
                  </m:oMath>
                </a14:m>
                <a:r>
                  <a:rPr lang="ru-RU" dirty="0"/>
                  <a:t> +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 dirty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 dirty="0">
                            <a:latin typeface="Cambria Math" charset="0"/>
                          </a:rPr>
                          <m:t>𝑤</m:t>
                        </m:r>
                      </m:e>
                      <m:sub>
                        <m:r>
                          <a:rPr lang="ru-RU" i="1" dirty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lang="en-US" i="1" dirty="0">
                        <a:latin typeface="Cambria Math" charset="0"/>
                      </a:rPr>
                      <m:t>∗</m:t>
                    </m:r>
                    <m:d>
                      <m:dPr>
                        <m:ctrlPr>
                          <a:rPr lang="ru-RU" i="1" dirty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ru-RU" i="1" dirty="0">
                            <a:latin typeface="Cambria Math" panose="02040503050406030204" pitchFamily="18" charset="0"/>
                          </a:rPr>
                          <m:t>число комнат</m:t>
                        </m:r>
                      </m:e>
                    </m:d>
                    <m:r>
                      <a:rPr lang="ru-RU" b="0" i="1" dirty="0" smtClean="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US" b="0" i="1" dirty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dirty="0" smtClean="0">
                            <a:latin typeface="Cambria Math" panose="02040503050406030204" pitchFamily="18" charset="0"/>
                          </a:rPr>
                          <m:t>𝑤</m:t>
                        </m:r>
                      </m:e>
                      <m:sub>
                        <m:r>
                          <a:rPr lang="en-US" b="0" i="1" dirty="0" smtClean="0">
                            <a:latin typeface="Cambria Math" panose="02040503050406030204" pitchFamily="18" charset="0"/>
                          </a:rPr>
                          <m:t>3</m:t>
                        </m:r>
                      </m:sub>
                    </m:sSub>
                    <m:r>
                      <a:rPr lang="en-US" b="0" i="1" dirty="0" smtClean="0">
                        <a:latin typeface="Cambria Math" panose="02040503050406030204" pitchFamily="18" charset="0"/>
                      </a:rPr>
                      <m:t>∗(</m:t>
                    </m:r>
                    <m:r>
                      <a:rPr lang="ru-RU" b="0" i="1" dirty="0" smtClean="0">
                        <a:latin typeface="Cambria Math" panose="02040503050406030204" pitchFamily="18" charset="0"/>
                      </a:rPr>
                      <m:t>расстояние до метро)</m:t>
                    </m:r>
                  </m:oMath>
                </a14:m>
                <a:endParaRPr lang="en-US" dirty="0"/>
              </a:p>
              <a:p>
                <a:r>
                  <a:rPr lang="ru-RU" dirty="0"/>
                  <a:t>Вид формулы задает </a:t>
                </a:r>
                <a:r>
                  <a:rPr lang="ru-RU" b="1" dirty="0"/>
                  <a:t>класс</a:t>
                </a:r>
                <a:r>
                  <a:rPr lang="ru-RU" dirty="0"/>
                  <a:t> </a:t>
                </a:r>
                <a:r>
                  <a:rPr lang="ru-RU" b="1" dirty="0"/>
                  <a:t>алгоритмов</a:t>
                </a:r>
                <a:endParaRPr lang="en-US" b="1" dirty="0"/>
              </a:p>
              <a:p>
                <a:pPr marL="0" indent="0">
                  <a:buNone/>
                </a:pPr>
                <a:endParaRPr lang="ru-RU" dirty="0"/>
              </a:p>
              <a:p>
                <a:r>
                  <a:rPr lang="ru-RU" dirty="0"/>
                  <a:t>Где взять параметры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 dirty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 dirty="0">
                            <a:latin typeface="Cambria Math" charset="0"/>
                          </a:rPr>
                          <m:t>𝑤</m:t>
                        </m:r>
                      </m:e>
                      <m:sub>
                        <m:r>
                          <a:rPr lang="en-US" i="1" dirty="0">
                            <a:latin typeface="Cambria Math" charset="0"/>
                          </a:rPr>
                          <m:t>1</m:t>
                        </m:r>
                      </m:sub>
                    </m:sSub>
                  </m:oMath>
                </a14:m>
                <a:r>
                  <a:rPr lang="en-US" dirty="0"/>
                  <a:t>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 dirty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 dirty="0">
                            <a:latin typeface="Cambria Math" charset="0"/>
                          </a:rPr>
                          <m:t>𝑤</m:t>
                        </m:r>
                      </m:e>
                      <m:sub>
                        <m:r>
                          <a:rPr lang="en-US" i="1" dirty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</m:oMath>
                </a14:m>
                <a:r>
                  <a:rPr lang="en-US" dirty="0"/>
                  <a:t>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 dirty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 dirty="0">
                            <a:latin typeface="Cambria Math" charset="0"/>
                          </a:rPr>
                          <m:t>𝑤</m:t>
                        </m:r>
                      </m:e>
                      <m:sub>
                        <m:r>
                          <a:rPr lang="en-US" b="0" i="1" dirty="0" smtClean="0">
                            <a:latin typeface="Cambria Math" panose="02040503050406030204" pitchFamily="18" charset="0"/>
                          </a:rPr>
                          <m:t>3</m:t>
                        </m:r>
                      </m:sub>
                    </m:sSub>
                  </m:oMath>
                </a14:m>
                <a:r>
                  <a:rPr lang="en-US" dirty="0"/>
                  <a:t>?</a:t>
                </a:r>
                <a:endParaRPr lang="ru-RU" dirty="0"/>
              </a:p>
              <a:p>
                <a:r>
                  <a:rPr lang="ru-RU" b="1" dirty="0"/>
                  <a:t>Обучение</a:t>
                </a:r>
                <a:r>
                  <a:rPr lang="ru-RU" dirty="0"/>
                  <a:t> – поиск оптимальных параметров алгоритма</a:t>
                </a:r>
              </a:p>
              <a:p>
                <a:endParaRPr lang="ru-RU" dirty="0"/>
              </a:p>
              <a:p>
                <a:pPr marL="609585" lvl="1" indent="0">
                  <a:buNone/>
                </a:pPr>
                <a:endParaRPr lang="ru-RU" dirty="0"/>
              </a:p>
              <a:p>
                <a:endParaRPr lang="ru-RU" dirty="0"/>
              </a:p>
            </p:txBody>
          </p:sp>
        </mc:Choice>
        <mc:Fallback xmlns="">
          <p:sp>
            <p:nvSpPr>
              <p:cNvPr id="2" name="Content Placeholder 1">
                <a:extLst>
                  <a:ext uri="{FF2B5EF4-FFF2-40B4-BE49-F238E27FC236}">
                    <a16:creationId xmlns:a16="http://schemas.microsoft.com/office/drawing/2014/main" id="{CC42B11A-1CC2-BA4E-B532-3E5F2872EB01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>
                <a:blip r:embed="rId2"/>
                <a:stretch>
                  <a:fillRect l="-1194" t="-2257" b="-2709"/>
                </a:stretch>
              </a:blipFill>
            </p:spPr>
            <p:txBody>
              <a:bodyPr/>
              <a:lstStyle/>
              <a:p>
                <a:r>
                  <a:rPr lang="en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Title 2">
            <a:extLst>
              <a:ext uri="{FF2B5EF4-FFF2-40B4-BE49-F238E27FC236}">
                <a16:creationId xmlns:a16="http://schemas.microsoft.com/office/drawing/2014/main" id="{E765C86B-08E6-5F4F-BF2F-1263A0DE77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Алгоритм</a:t>
            </a:r>
          </a:p>
        </p:txBody>
      </p:sp>
      <p:sp>
        <p:nvSpPr>
          <p:cNvPr id="4" name="Alternate Process 3">
            <a:extLst>
              <a:ext uri="{FF2B5EF4-FFF2-40B4-BE49-F238E27FC236}">
                <a16:creationId xmlns:a16="http://schemas.microsoft.com/office/drawing/2014/main" id="{F3A05F3F-69E9-CF40-B667-94BC9A7298E1}"/>
              </a:ext>
            </a:extLst>
          </p:cNvPr>
          <p:cNvSpPr/>
          <p:nvPr/>
        </p:nvSpPr>
        <p:spPr>
          <a:xfrm>
            <a:off x="1236134" y="2190997"/>
            <a:ext cx="524933" cy="518336"/>
          </a:xfrm>
          <a:prstGeom prst="flowChartAlternateProcess">
            <a:avLst/>
          </a:prstGeom>
          <a:noFill/>
          <a:ln w="53975">
            <a:solidFill>
              <a:srgbClr val="FF0000"/>
            </a:solidFill>
            <a:rou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1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Calibri"/>
            </a:endParaRPr>
          </a:p>
        </p:txBody>
      </p:sp>
      <p:sp>
        <p:nvSpPr>
          <p:cNvPr id="5" name="Alternate Process 4">
            <a:extLst>
              <a:ext uri="{FF2B5EF4-FFF2-40B4-BE49-F238E27FC236}">
                <a16:creationId xmlns:a16="http://schemas.microsoft.com/office/drawing/2014/main" id="{C4E9A982-EE37-5242-AE47-DF538CC8B055}"/>
              </a:ext>
            </a:extLst>
          </p:cNvPr>
          <p:cNvSpPr/>
          <p:nvPr/>
        </p:nvSpPr>
        <p:spPr>
          <a:xfrm>
            <a:off x="1236134" y="3217992"/>
            <a:ext cx="524933" cy="518336"/>
          </a:xfrm>
          <a:prstGeom prst="flowChartAlternateProcess">
            <a:avLst/>
          </a:prstGeom>
          <a:noFill/>
          <a:ln w="53975">
            <a:solidFill>
              <a:srgbClr val="FF0000"/>
            </a:solidFill>
            <a:rou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1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Calibri"/>
            </a:endParaRPr>
          </a:p>
        </p:txBody>
      </p:sp>
      <p:sp>
        <p:nvSpPr>
          <p:cNvPr id="7" name="Alternate Process 6">
            <a:extLst>
              <a:ext uri="{FF2B5EF4-FFF2-40B4-BE49-F238E27FC236}">
                <a16:creationId xmlns:a16="http://schemas.microsoft.com/office/drawing/2014/main" id="{466BEC62-42B8-8B41-B897-8E573487FF4C}"/>
              </a:ext>
            </a:extLst>
          </p:cNvPr>
          <p:cNvSpPr/>
          <p:nvPr/>
        </p:nvSpPr>
        <p:spPr>
          <a:xfrm>
            <a:off x="4097867" y="3217992"/>
            <a:ext cx="524933" cy="518336"/>
          </a:xfrm>
          <a:prstGeom prst="flowChartAlternateProcess">
            <a:avLst/>
          </a:prstGeom>
          <a:noFill/>
          <a:ln w="53975">
            <a:solidFill>
              <a:srgbClr val="FF0000"/>
            </a:solidFill>
            <a:rou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1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Calibri"/>
            </a:endParaRPr>
          </a:p>
        </p:txBody>
      </p:sp>
      <p:sp>
        <p:nvSpPr>
          <p:cNvPr id="8" name="Alternate Process 4">
            <a:extLst>
              <a:ext uri="{FF2B5EF4-FFF2-40B4-BE49-F238E27FC236}">
                <a16:creationId xmlns:a16="http://schemas.microsoft.com/office/drawing/2014/main" id="{86490842-F0DB-984C-912C-4C2951992FB4}"/>
              </a:ext>
            </a:extLst>
          </p:cNvPr>
          <p:cNvSpPr/>
          <p:nvPr/>
        </p:nvSpPr>
        <p:spPr>
          <a:xfrm>
            <a:off x="1236134" y="2704495"/>
            <a:ext cx="524933" cy="518336"/>
          </a:xfrm>
          <a:prstGeom prst="flowChartAlternateProcess">
            <a:avLst/>
          </a:prstGeom>
          <a:noFill/>
          <a:ln w="53975">
            <a:solidFill>
              <a:srgbClr val="FF0000"/>
            </a:solidFill>
            <a:rou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1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Calibri"/>
            </a:endParaRPr>
          </a:p>
        </p:txBody>
      </p:sp>
      <p:sp>
        <p:nvSpPr>
          <p:cNvPr id="9" name="Alternate Process 6">
            <a:extLst>
              <a:ext uri="{FF2B5EF4-FFF2-40B4-BE49-F238E27FC236}">
                <a16:creationId xmlns:a16="http://schemas.microsoft.com/office/drawing/2014/main" id="{A3DE7AF7-ADEC-9D46-AE14-91876F9A108F}"/>
              </a:ext>
            </a:extLst>
          </p:cNvPr>
          <p:cNvSpPr/>
          <p:nvPr/>
        </p:nvSpPr>
        <p:spPr>
          <a:xfrm>
            <a:off x="4097867" y="2704495"/>
            <a:ext cx="524933" cy="518336"/>
          </a:xfrm>
          <a:prstGeom prst="flowChartAlternateProcess">
            <a:avLst/>
          </a:prstGeom>
          <a:noFill/>
          <a:ln w="53975">
            <a:solidFill>
              <a:srgbClr val="FF0000"/>
            </a:solidFill>
            <a:rou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1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Calibri"/>
            </a:endParaRPr>
          </a:p>
        </p:txBody>
      </p:sp>
      <p:sp>
        <p:nvSpPr>
          <p:cNvPr id="10" name="Alternate Process 6">
            <a:extLst>
              <a:ext uri="{FF2B5EF4-FFF2-40B4-BE49-F238E27FC236}">
                <a16:creationId xmlns:a16="http://schemas.microsoft.com/office/drawing/2014/main" id="{A9150957-DEF3-4A4E-8859-7B9CB357D862}"/>
              </a:ext>
            </a:extLst>
          </p:cNvPr>
          <p:cNvSpPr/>
          <p:nvPr/>
        </p:nvSpPr>
        <p:spPr>
          <a:xfrm>
            <a:off x="8265219" y="3217992"/>
            <a:ext cx="524933" cy="518336"/>
          </a:xfrm>
          <a:prstGeom prst="flowChartAlternateProcess">
            <a:avLst/>
          </a:prstGeom>
          <a:noFill/>
          <a:ln w="53975">
            <a:solidFill>
              <a:srgbClr val="FF0000"/>
            </a:solidFill>
            <a:rou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1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75106564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7" name="Shape 297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>
            <a:lvl1pPr defTabSz="813816">
              <a:defRPr sz="1958"/>
            </a:lvl1pPr>
          </a:lstStyle>
          <a:p>
            <a:r>
              <a:rPr sz="3733" dirty="0" err="1"/>
              <a:t>Функция</a:t>
            </a:r>
            <a:r>
              <a:rPr sz="3733" dirty="0"/>
              <a:t> </a:t>
            </a:r>
            <a:r>
              <a:rPr sz="3733" dirty="0" err="1"/>
              <a:t>потерь</a:t>
            </a:r>
            <a:endParaRPr sz="3733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Content Placeholder 2"/>
              <p:cNvSpPr txBox="1">
                <a:spLocks/>
              </p:cNvSpPr>
              <p:nvPr/>
            </p:nvSpPr>
            <p:spPr>
              <a:xfrm>
                <a:off x="236519" y="1775327"/>
                <a:ext cx="11686307" cy="4835271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lIns="60959" rIns="60959">
                <a:normAutofit/>
              </a:bodyPr>
              <a:lstStyle>
                <a:lvl1pPr marL="228600" marR="0" indent="-228600" algn="l" defTabSz="914400" rtl="0" latinLnBrk="0">
                  <a:lnSpc>
                    <a:spcPct val="9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Pct val="100000"/>
                  <a:buFont typeface="Arial"/>
                  <a:buChar char="•"/>
                  <a:tabLst/>
                  <a:defRPr sz="18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+mj-lt"/>
                    <a:ea typeface="+mj-ea"/>
                    <a:cs typeface="+mj-cs"/>
                    <a:sym typeface="Calibri"/>
                  </a:defRPr>
                </a:lvl1pPr>
                <a:lvl2pPr marL="685800" marR="0" indent="-228600" algn="l" defTabSz="914400" rtl="0" latinLnBrk="0">
                  <a:lnSpc>
                    <a:spcPct val="9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Pct val="100000"/>
                  <a:buFont typeface="Arial"/>
                  <a:buChar char="•"/>
                  <a:tabLst/>
                  <a:defRPr sz="18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+mj-lt"/>
                    <a:ea typeface="+mj-ea"/>
                    <a:cs typeface="+mj-cs"/>
                    <a:sym typeface="Calibri"/>
                  </a:defRPr>
                </a:lvl2pPr>
                <a:lvl3pPr marL="1143000" marR="0" indent="-228600" algn="l" defTabSz="914400" rtl="0" latinLnBrk="0">
                  <a:lnSpc>
                    <a:spcPct val="9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Pct val="100000"/>
                  <a:buFont typeface="Arial"/>
                  <a:buChar char="•"/>
                  <a:tabLst/>
                  <a:defRPr sz="18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+mj-lt"/>
                    <a:ea typeface="+mj-ea"/>
                    <a:cs typeface="+mj-cs"/>
                    <a:sym typeface="Calibri"/>
                  </a:defRPr>
                </a:lvl3pPr>
                <a:lvl4pPr marL="1600200" marR="0" indent="-228600" algn="l" defTabSz="914400" rtl="0" latinLnBrk="0">
                  <a:lnSpc>
                    <a:spcPct val="9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Pct val="100000"/>
                  <a:buFont typeface="Arial"/>
                  <a:buChar char="•"/>
                  <a:tabLst/>
                  <a:defRPr sz="18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+mj-lt"/>
                    <a:ea typeface="+mj-ea"/>
                    <a:cs typeface="+mj-cs"/>
                    <a:sym typeface="Calibri"/>
                  </a:defRPr>
                </a:lvl4pPr>
                <a:lvl5pPr marL="2057400" marR="0" indent="-228600" algn="l" defTabSz="914400" rtl="0" latinLnBrk="0">
                  <a:lnSpc>
                    <a:spcPct val="9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Pct val="100000"/>
                  <a:buFont typeface="Arial"/>
                  <a:buChar char="•"/>
                  <a:tabLst/>
                  <a:defRPr sz="18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+mj-lt"/>
                    <a:ea typeface="+mj-ea"/>
                    <a:cs typeface="+mj-cs"/>
                    <a:sym typeface="Calibri"/>
                  </a:defRPr>
                </a:lvl5pPr>
                <a:lvl6pPr marL="2641600" marR="0" indent="-355600" algn="l" defTabSz="914400" rtl="0" latinLnBrk="0">
                  <a:lnSpc>
                    <a:spcPct val="9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Pct val="100000"/>
                  <a:buFont typeface="Arial"/>
                  <a:buChar char="•"/>
                  <a:tabLst/>
                  <a:defRPr sz="28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+mj-lt"/>
                    <a:ea typeface="+mj-ea"/>
                    <a:cs typeface="+mj-cs"/>
                    <a:sym typeface="Calibri"/>
                  </a:defRPr>
                </a:lvl6pPr>
                <a:lvl7pPr marL="3098800" marR="0" indent="-355600" algn="l" defTabSz="914400" rtl="0" latinLnBrk="0">
                  <a:lnSpc>
                    <a:spcPct val="9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Pct val="100000"/>
                  <a:buFont typeface="Arial"/>
                  <a:buChar char="•"/>
                  <a:tabLst/>
                  <a:defRPr sz="28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+mj-lt"/>
                    <a:ea typeface="+mj-ea"/>
                    <a:cs typeface="+mj-cs"/>
                    <a:sym typeface="Calibri"/>
                  </a:defRPr>
                </a:lvl7pPr>
                <a:lvl8pPr marL="3556000" marR="0" indent="-355600" algn="l" defTabSz="914400" rtl="0" latinLnBrk="0">
                  <a:lnSpc>
                    <a:spcPct val="9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Pct val="100000"/>
                  <a:buFont typeface="Arial"/>
                  <a:buChar char="•"/>
                  <a:tabLst/>
                  <a:defRPr sz="28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+mj-lt"/>
                    <a:ea typeface="+mj-ea"/>
                    <a:cs typeface="+mj-cs"/>
                    <a:sym typeface="Calibri"/>
                  </a:defRPr>
                </a:lvl8pPr>
                <a:lvl9pPr marL="4013200" marR="0" indent="-355600" algn="l" defTabSz="914400" rtl="0" latinLnBrk="0">
                  <a:lnSpc>
                    <a:spcPct val="9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Pct val="100000"/>
                  <a:buFont typeface="Arial"/>
                  <a:buChar char="•"/>
                  <a:tabLst/>
                  <a:defRPr sz="28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+mj-lt"/>
                    <a:ea typeface="+mj-ea"/>
                    <a:cs typeface="+mj-cs"/>
                    <a:sym typeface="Calibri"/>
                  </a:defRPr>
                </a:lvl9pPr>
              </a:lstStyle>
              <a:p>
                <a:pPr marL="304792" marR="0" lvl="0" indent="-304792" algn="l" defTabSz="1219170" rtl="0" eaLnBrk="1" fontAlgn="auto" latinLnBrk="0" hangingPunct="1">
                  <a:lnSpc>
                    <a:spcPct val="90000"/>
                  </a:lnSpc>
                  <a:spcBef>
                    <a:spcPts val="1333"/>
                  </a:spcBef>
                  <a:spcAft>
                    <a:spcPts val="0"/>
                  </a:spcAft>
                  <a:buClrTx/>
                  <a:buSzPct val="100000"/>
                  <a:buFont typeface="Arial"/>
                  <a:buChar char="•"/>
                  <a:tabLst/>
                  <a:defRPr/>
                </a:pPr>
                <a:r>
                  <a:rPr lang="ru-RU" sz="320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Не все формулы полезны</a:t>
                </a:r>
              </a:p>
              <a:p>
                <a:pPr marL="304792" marR="0" lvl="0" indent="-304792" algn="l" defTabSz="1219170" rtl="0" eaLnBrk="1" fontAlgn="auto" latinLnBrk="0" hangingPunct="1">
                  <a:lnSpc>
                    <a:spcPct val="90000"/>
                  </a:lnSpc>
                  <a:spcBef>
                    <a:spcPts val="1333"/>
                  </a:spcBef>
                  <a:spcAft>
                    <a:spcPts val="0"/>
                  </a:spcAft>
                  <a:buClrTx/>
                  <a:buSzPct val="100000"/>
                  <a:buFont typeface="Arial"/>
                  <a:buChar char="•"/>
                  <a:tabLst/>
                  <a:defRPr/>
                </a:pPr>
                <a14:m>
                  <m:oMath xmlns:m="http://schemas.openxmlformats.org/officeDocument/2006/math">
                    <m:r>
                      <a:rPr lang="en-US" sz="32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+mn-ea"/>
                        <a:cs typeface="+mn-cs"/>
                      </a:rPr>
                      <m:t>𝑎</m:t>
                    </m:r>
                    <m:d>
                      <m:dPr>
                        <m:ctrlPr>
                          <a:rPr lang="en-US" sz="32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</m:ctrlPr>
                      </m:dPr>
                      <m:e>
                        <m:r>
                          <a:rPr lang="en-US" sz="3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𝑥</m:t>
                        </m:r>
                      </m:e>
                    </m:d>
                    <m:r>
                      <a:rPr lang="en-US" sz="32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+mn-ea"/>
                        <a:cs typeface="+mn-cs"/>
                      </a:rPr>
                      <m:t>=0</m:t>
                    </m:r>
                  </m:oMath>
                </a14:m>
                <a:r>
                  <a:rPr lang="en-US" sz="320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 — </a:t>
                </a:r>
                <a:r>
                  <a:rPr lang="ru-RU" sz="320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не принесет никакой выгоды</a:t>
                </a:r>
              </a:p>
              <a:p>
                <a:pPr marL="304792" marR="0" lvl="0" indent="-304792" algn="l" defTabSz="1219170" rtl="0" eaLnBrk="1" fontAlgn="auto" latinLnBrk="0" hangingPunct="1">
                  <a:lnSpc>
                    <a:spcPct val="90000"/>
                  </a:lnSpc>
                  <a:spcBef>
                    <a:spcPts val="1333"/>
                  </a:spcBef>
                  <a:spcAft>
                    <a:spcPts val="0"/>
                  </a:spcAft>
                  <a:buClrTx/>
                  <a:buSzPct val="100000"/>
                  <a:buFont typeface="Arial"/>
                  <a:buChar char="•"/>
                  <a:tabLst/>
                  <a:defRPr/>
                </a:pPr>
                <a:r>
                  <a:rPr lang="ru-RU" sz="320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Функция потерь — мера корректности ответа алгоритма</a:t>
                </a:r>
              </a:p>
              <a:p>
                <a:pPr marL="304792" marR="0" lvl="0" indent="-304792" algn="l" defTabSz="1219170" rtl="0" eaLnBrk="1" fontAlgn="auto" latinLnBrk="0" hangingPunct="1">
                  <a:lnSpc>
                    <a:spcPct val="90000"/>
                  </a:lnSpc>
                  <a:spcBef>
                    <a:spcPts val="1333"/>
                  </a:spcBef>
                  <a:spcAft>
                    <a:spcPts val="0"/>
                  </a:spcAft>
                  <a:buClrTx/>
                  <a:buSzPct val="100000"/>
                  <a:buFont typeface="Arial"/>
                  <a:buChar char="•"/>
                  <a:tabLst/>
                  <a:defRPr/>
                </a:pPr>
                <a:r>
                  <a:rPr lang="ru-RU" sz="320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Предсказали стоимость 5.000.000, на самом деле 7.000.000</a:t>
                </a:r>
                <a:r>
                  <a:rPr lang="en-US" sz="320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 — </a:t>
                </a:r>
                <a:r>
                  <a:rPr lang="ru-RU" sz="320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хорошо или плохо?</a:t>
                </a:r>
                <a:endParaRPr lang="en-US" sz="3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  <a:p>
                <a:pPr marL="304792" marR="0" lvl="0" indent="-304792" algn="l" defTabSz="1219170" rtl="0" eaLnBrk="1" fontAlgn="auto" latinLnBrk="0" hangingPunct="1">
                  <a:lnSpc>
                    <a:spcPct val="90000"/>
                  </a:lnSpc>
                  <a:spcBef>
                    <a:spcPts val="1333"/>
                  </a:spcBef>
                  <a:spcAft>
                    <a:spcPts val="0"/>
                  </a:spcAft>
                  <a:buClrTx/>
                  <a:buSzPct val="100000"/>
                  <a:buFont typeface="Arial"/>
                  <a:buChar char="•"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/>
                  <a:cs typeface="Calibri"/>
                  <a:sym typeface="Calibri"/>
                </a:endParaRPr>
              </a:p>
            </p:txBody>
          </p:sp>
        </mc:Choice>
        <mc:Fallback xmlns="">
          <p:sp>
            <p:nvSpPr>
              <p:cNvPr id="6" name="Content Placeholder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6519" y="1775327"/>
                <a:ext cx="11686307" cy="4835271"/>
              </a:xfrm>
              <a:prstGeom prst="rect">
                <a:avLst/>
              </a:prstGeom>
              <a:blipFill>
                <a:blip r:embed="rId2"/>
                <a:stretch>
                  <a:fillRect l="-1461" t="-2648"/>
                </a:stretch>
              </a:blipFill>
              <a:ln w="12700">
                <a:miter lim="400000"/>
              </a:ln>
              <a:extLst>
                <a:ext uri="{C572A759-6A51-4108-AA02-DFA0A04FC94B}">
                  <ma14:wrappingTextBoxFlag xmlns="" xmlns:ma14="http://schemas.microsoft.com/office/mac/drawingml/2011/main" xmlns:a14="http://schemas.microsoft.com/office/drawing/2010/main" val="1"/>
                </a:ext>
              </a:extLst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04467598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7" name="Shape 297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>
            <a:lvl1pPr defTabSz="813816">
              <a:defRPr sz="1958"/>
            </a:lvl1pPr>
          </a:lstStyle>
          <a:p>
            <a:r>
              <a:rPr sz="3733" dirty="0" err="1"/>
              <a:t>Функция</a:t>
            </a:r>
            <a:r>
              <a:rPr sz="3733" dirty="0"/>
              <a:t> </a:t>
            </a:r>
            <a:r>
              <a:rPr sz="3733" dirty="0" err="1"/>
              <a:t>потерь</a:t>
            </a:r>
            <a:endParaRPr sz="3733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Content Placeholder 2"/>
              <p:cNvSpPr txBox="1">
                <a:spLocks/>
              </p:cNvSpPr>
              <p:nvPr/>
            </p:nvSpPr>
            <p:spPr>
              <a:xfrm>
                <a:off x="236519" y="1775327"/>
                <a:ext cx="11686307" cy="4835271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lIns="60959" rIns="60959">
                <a:normAutofit fontScale="92500"/>
              </a:bodyPr>
              <a:lstStyle>
                <a:lvl1pPr marL="228600" marR="0" indent="-228600" algn="l" defTabSz="914400" rtl="0" latinLnBrk="0">
                  <a:lnSpc>
                    <a:spcPct val="9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Pct val="100000"/>
                  <a:buFont typeface="Arial"/>
                  <a:buChar char="•"/>
                  <a:tabLst/>
                  <a:defRPr sz="18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+mj-lt"/>
                    <a:ea typeface="+mj-ea"/>
                    <a:cs typeface="+mj-cs"/>
                    <a:sym typeface="Calibri"/>
                  </a:defRPr>
                </a:lvl1pPr>
                <a:lvl2pPr marL="685800" marR="0" indent="-228600" algn="l" defTabSz="914400" rtl="0" latinLnBrk="0">
                  <a:lnSpc>
                    <a:spcPct val="9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Pct val="100000"/>
                  <a:buFont typeface="Arial"/>
                  <a:buChar char="•"/>
                  <a:tabLst/>
                  <a:defRPr sz="18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+mj-lt"/>
                    <a:ea typeface="+mj-ea"/>
                    <a:cs typeface="+mj-cs"/>
                    <a:sym typeface="Calibri"/>
                  </a:defRPr>
                </a:lvl2pPr>
                <a:lvl3pPr marL="1143000" marR="0" indent="-228600" algn="l" defTabSz="914400" rtl="0" latinLnBrk="0">
                  <a:lnSpc>
                    <a:spcPct val="9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Pct val="100000"/>
                  <a:buFont typeface="Arial"/>
                  <a:buChar char="•"/>
                  <a:tabLst/>
                  <a:defRPr sz="18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+mj-lt"/>
                    <a:ea typeface="+mj-ea"/>
                    <a:cs typeface="+mj-cs"/>
                    <a:sym typeface="Calibri"/>
                  </a:defRPr>
                </a:lvl3pPr>
                <a:lvl4pPr marL="1600200" marR="0" indent="-228600" algn="l" defTabSz="914400" rtl="0" latinLnBrk="0">
                  <a:lnSpc>
                    <a:spcPct val="9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Pct val="100000"/>
                  <a:buFont typeface="Arial"/>
                  <a:buChar char="•"/>
                  <a:tabLst/>
                  <a:defRPr sz="18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+mj-lt"/>
                    <a:ea typeface="+mj-ea"/>
                    <a:cs typeface="+mj-cs"/>
                    <a:sym typeface="Calibri"/>
                  </a:defRPr>
                </a:lvl4pPr>
                <a:lvl5pPr marL="2057400" marR="0" indent="-228600" algn="l" defTabSz="914400" rtl="0" latinLnBrk="0">
                  <a:lnSpc>
                    <a:spcPct val="9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Pct val="100000"/>
                  <a:buFont typeface="Arial"/>
                  <a:buChar char="•"/>
                  <a:tabLst/>
                  <a:defRPr sz="18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+mj-lt"/>
                    <a:ea typeface="+mj-ea"/>
                    <a:cs typeface="+mj-cs"/>
                    <a:sym typeface="Calibri"/>
                  </a:defRPr>
                </a:lvl5pPr>
                <a:lvl6pPr marL="2641600" marR="0" indent="-355600" algn="l" defTabSz="914400" rtl="0" latinLnBrk="0">
                  <a:lnSpc>
                    <a:spcPct val="9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Pct val="100000"/>
                  <a:buFont typeface="Arial"/>
                  <a:buChar char="•"/>
                  <a:tabLst/>
                  <a:defRPr sz="28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+mj-lt"/>
                    <a:ea typeface="+mj-ea"/>
                    <a:cs typeface="+mj-cs"/>
                    <a:sym typeface="Calibri"/>
                  </a:defRPr>
                </a:lvl6pPr>
                <a:lvl7pPr marL="3098800" marR="0" indent="-355600" algn="l" defTabSz="914400" rtl="0" latinLnBrk="0">
                  <a:lnSpc>
                    <a:spcPct val="9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Pct val="100000"/>
                  <a:buFont typeface="Arial"/>
                  <a:buChar char="•"/>
                  <a:tabLst/>
                  <a:defRPr sz="28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+mj-lt"/>
                    <a:ea typeface="+mj-ea"/>
                    <a:cs typeface="+mj-cs"/>
                    <a:sym typeface="Calibri"/>
                  </a:defRPr>
                </a:lvl7pPr>
                <a:lvl8pPr marL="3556000" marR="0" indent="-355600" algn="l" defTabSz="914400" rtl="0" latinLnBrk="0">
                  <a:lnSpc>
                    <a:spcPct val="9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Pct val="100000"/>
                  <a:buFont typeface="Arial"/>
                  <a:buChar char="•"/>
                  <a:tabLst/>
                  <a:defRPr sz="28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+mj-lt"/>
                    <a:ea typeface="+mj-ea"/>
                    <a:cs typeface="+mj-cs"/>
                    <a:sym typeface="Calibri"/>
                  </a:defRPr>
                </a:lvl8pPr>
                <a:lvl9pPr marL="4013200" marR="0" indent="-355600" algn="l" defTabSz="914400" rtl="0" latinLnBrk="0">
                  <a:lnSpc>
                    <a:spcPct val="9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Pct val="100000"/>
                  <a:buFont typeface="Arial"/>
                  <a:buChar char="•"/>
                  <a:tabLst/>
                  <a:defRPr sz="28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+mj-lt"/>
                    <a:ea typeface="+mj-ea"/>
                    <a:cs typeface="+mj-cs"/>
                    <a:sym typeface="Calibri"/>
                  </a:defRPr>
                </a:lvl9pPr>
              </a:lstStyle>
              <a:p>
                <a:pPr marL="304792" marR="0" lvl="0" indent="-304792" algn="l" defTabSz="1219170" rtl="0" eaLnBrk="1" fontAlgn="auto" latinLnBrk="0" hangingPunct="1">
                  <a:lnSpc>
                    <a:spcPct val="90000"/>
                  </a:lnSpc>
                  <a:spcBef>
                    <a:spcPts val="1333"/>
                  </a:spcBef>
                  <a:spcAft>
                    <a:spcPts val="0"/>
                  </a:spcAft>
                  <a:buClrTx/>
                  <a:buSzPct val="100000"/>
                  <a:buFont typeface="Arial"/>
                  <a:buChar char="•"/>
                  <a:tabLst/>
                  <a:defRPr/>
                </a:pPr>
                <a:r>
                  <a:rPr lang="ru-RU" sz="280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Среднеквадратичная ошибка</a:t>
                </a:r>
                <a:r>
                  <a:rPr lang="en-US" sz="280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 (Mean Squared Error, MSE)</a:t>
                </a:r>
                <a:r>
                  <a:rPr lang="ru-RU" sz="280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:</a:t>
                </a:r>
                <a:endParaRPr lang="en-US" sz="28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  <a:p>
                <a:pPr marL="0" lvl="0" indent="0" algn="ctr" defTabSz="1219170">
                  <a:spcBef>
                    <a:spcPts val="1333"/>
                  </a:spcBef>
                  <a:buNone/>
                  <a:defRPr/>
                </a:pPr>
                <a:r>
                  <a:rPr lang="ru-RU" sz="2800" dirty="0">
                    <a:solidFill>
                      <a:prstClr val="black"/>
                    </a:solidFill>
                    <a:latin typeface="Calibri" panose="020F0502020204030204"/>
                  </a:rPr>
                  <a:t>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sz="2800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d>
                          <m:dPr>
                            <m:ctrlPr>
                              <a:rPr lang="ru-RU" sz="2800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ru-RU" sz="2800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прогноз−факт</m:t>
                            </m:r>
                          </m:e>
                        </m:d>
                      </m:e>
                      <m:sup>
                        <m:r>
                          <a:rPr lang="en-US" sz="2800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</m:oMath>
                </a14:m>
                <a:endParaRPr lang="en-US" sz="2800" dirty="0">
                  <a:solidFill>
                    <a:prstClr val="black"/>
                  </a:solidFill>
                  <a:latin typeface="Calibri" panose="020F0502020204030204"/>
                </a:endParaRPr>
              </a:p>
              <a:p>
                <a:pPr marL="304792" marR="0" lvl="0" indent="-304792" algn="l" defTabSz="1219170" rtl="0" eaLnBrk="1" fontAlgn="auto" latinLnBrk="0" hangingPunct="1">
                  <a:lnSpc>
                    <a:spcPct val="90000"/>
                  </a:lnSpc>
                  <a:spcBef>
                    <a:spcPts val="1333"/>
                  </a:spcBef>
                  <a:spcAft>
                    <a:spcPts val="0"/>
                  </a:spcAft>
                  <a:buClrTx/>
                  <a:buSzPct val="100000"/>
                  <a:buFont typeface="Arial"/>
                  <a:buChar char="•"/>
                  <a:tabLst/>
                  <a:defRPr/>
                </a:pPr>
                <a14:m>
                  <m:oMath xmlns:m="http://schemas.openxmlformats.org/officeDocument/2006/math">
                    <m:r>
                      <a:rPr lang="ru-RU" sz="2800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+mn-ea"/>
                        <a:cs typeface="+mn-cs"/>
                      </a:rPr>
                      <m:t>прогн</m:t>
                    </m:r>
                    <m:r>
                      <a:rPr lang="ru-RU" sz="2800" b="0" i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+mn-ea"/>
                        <a:cs typeface="+mn-cs"/>
                      </a:rPr>
                      <m:t>оз</m:t>
                    </m:r>
                    <m:r>
                      <a:rPr lang="en-US" sz="28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+mn-ea"/>
                        <a:cs typeface="+mn-cs"/>
                      </a:rPr>
                      <m:t>=1.000.000</m:t>
                    </m:r>
                  </m:oMath>
                </a14:m>
                <a:r>
                  <a:rPr lang="en-US" sz="280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, </a:t>
                </a:r>
                <a14:m>
                  <m:oMath xmlns:m="http://schemas.openxmlformats.org/officeDocument/2006/math">
                    <m:r>
                      <a:rPr lang="ru-RU" sz="2800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+mn-ea"/>
                        <a:cs typeface="+mn-cs"/>
                      </a:rPr>
                      <m:t>факт</m:t>
                    </m:r>
                    <m:r>
                      <a:rPr lang="en-US" sz="28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+mn-ea"/>
                        <a:cs typeface="+mn-cs"/>
                      </a:rPr>
                      <m:t>=1.000.000</m:t>
                    </m:r>
                  </m:oMath>
                </a14:m>
                <a:r>
                  <a:rPr lang="en-US" sz="280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 </a:t>
                </a:r>
                <a14:m>
                  <m:oMath xmlns:m="http://schemas.openxmlformats.org/officeDocument/2006/math">
                    <m:r>
                      <a:rPr lang="en-US" sz="2800" dirty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+mn-ea"/>
                        <a:cs typeface="+mn-cs"/>
                      </a:rPr>
                      <m:t>⟹</m:t>
                    </m:r>
                  </m:oMath>
                </a14:m>
                <a:r>
                  <a:rPr lang="en-US" sz="280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sz="2800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</m:ctrlPr>
                      </m:sSupPr>
                      <m:e>
                        <m:d>
                          <m:dPr>
                            <m:ctrlPr>
                              <a:rPr lang="en-US" sz="2800" i="1" dirty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+mn-ea"/>
                                <a:cs typeface="+mn-cs"/>
                              </a:rPr>
                            </m:ctrlPr>
                          </m:dPr>
                          <m:e>
                            <m:r>
                              <a:rPr lang="en-US" sz="2800" dirty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+mn-ea"/>
                                <a:cs typeface="+mn-cs"/>
                              </a:rPr>
                              <m:t>1.000.000−1.000.000</m:t>
                            </m:r>
                          </m:e>
                        </m:d>
                      </m:e>
                      <m:sup>
                        <m:r>
                          <a:rPr lang="en-US" sz="2800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2</m:t>
                        </m:r>
                      </m:sup>
                    </m:sSup>
                    <m:r>
                      <a:rPr lang="en-US" sz="2800" dirty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+mn-ea"/>
                        <a:cs typeface="+mn-cs"/>
                      </a:rPr>
                      <m:t>=0</m:t>
                    </m:r>
                  </m:oMath>
                </a14:m>
                <a:endParaRPr lang="en-US" sz="28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  <a:p>
                <a:pPr marL="304792" indent="-304792" defTabSz="1219170">
                  <a:spcBef>
                    <a:spcPts val="1333"/>
                  </a:spcBef>
                  <a:defRPr/>
                </a:pPr>
                <a14:m>
                  <m:oMath xmlns:m="http://schemas.openxmlformats.org/officeDocument/2006/math">
                    <m:r>
                      <a:rPr lang="ru-RU" sz="2800" i="1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прогн</m:t>
                    </m:r>
                    <m:r>
                      <a:rPr lang="ru-RU" sz="280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оз</m:t>
                    </m:r>
                    <m:r>
                      <a:rPr lang="en-US" sz="28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+mn-ea"/>
                        <a:cs typeface="+mn-cs"/>
                      </a:rPr>
                      <m:t>=1.000.000</m:t>
                    </m:r>
                  </m:oMath>
                </a14:m>
                <a:r>
                  <a:rPr lang="en-US" sz="280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,</a:t>
                </a:r>
                <a14:m>
                  <m:oMath xmlns:m="http://schemas.openxmlformats.org/officeDocument/2006/math">
                    <m:r>
                      <a:rPr lang="ru-RU" sz="2800" i="1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факт</m:t>
                    </m:r>
                    <m:r>
                      <a:rPr lang="en-US" sz="28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+mn-ea"/>
                        <a:cs typeface="+mn-cs"/>
                      </a:rPr>
                      <m:t>=1.000.005</m:t>
                    </m:r>
                  </m:oMath>
                </a14:m>
                <a:r>
                  <a:rPr lang="en-US" sz="280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 </a:t>
                </a:r>
                <a14:m>
                  <m:oMath xmlns:m="http://schemas.openxmlformats.org/officeDocument/2006/math">
                    <m:r>
                      <a:rPr lang="en-US" sz="2800" dirty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+mn-ea"/>
                        <a:cs typeface="+mn-cs"/>
                      </a:rPr>
                      <m:t>⟹</m:t>
                    </m:r>
                  </m:oMath>
                </a14:m>
                <a:r>
                  <a:rPr lang="en-US" sz="280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sz="2800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</m:ctrlPr>
                      </m:sSupPr>
                      <m:e>
                        <m:d>
                          <m:dPr>
                            <m:ctrlPr>
                              <a:rPr lang="en-US" sz="2800" i="1" dirty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+mn-ea"/>
                                <a:cs typeface="+mn-cs"/>
                              </a:rPr>
                            </m:ctrlPr>
                          </m:dPr>
                          <m:e>
                            <m:r>
                              <a:rPr lang="en-US" sz="2800" dirty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+mn-ea"/>
                                <a:cs typeface="+mn-cs"/>
                              </a:rPr>
                              <m:t>1.000.000−1.000.005</m:t>
                            </m:r>
                          </m:e>
                        </m:d>
                      </m:e>
                      <m:sup>
                        <m:r>
                          <a:rPr lang="en-US" sz="2800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2</m:t>
                        </m:r>
                      </m:sup>
                    </m:sSup>
                    <m:r>
                      <a:rPr lang="en-US" sz="2800" dirty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+mn-ea"/>
                        <a:cs typeface="+mn-cs"/>
                      </a:rPr>
                      <m:t>=25</m:t>
                    </m:r>
                  </m:oMath>
                </a14:m>
                <a:endParaRPr lang="en-US" sz="28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  <a:p>
                <a:pPr marL="304792" indent="-304792" defTabSz="1219170">
                  <a:spcBef>
                    <a:spcPts val="1333"/>
                  </a:spcBef>
                  <a:defRPr/>
                </a:pPr>
                <a14:m>
                  <m:oMath xmlns:m="http://schemas.openxmlformats.org/officeDocument/2006/math">
                    <m:r>
                      <a:rPr lang="ru-RU" sz="2800" i="1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прогн</m:t>
                    </m:r>
                    <m:r>
                      <a:rPr lang="ru-RU" sz="280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оз</m:t>
                    </m:r>
                    <m:r>
                      <a:rPr lang="en-US" sz="28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+mn-ea"/>
                        <a:cs typeface="+mn-cs"/>
                      </a:rPr>
                      <m:t>=1.000.000</m:t>
                    </m:r>
                  </m:oMath>
                </a14:m>
                <a:r>
                  <a:rPr lang="en-US" sz="280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,</a:t>
                </a:r>
                <a14:m>
                  <m:oMath xmlns:m="http://schemas.openxmlformats.org/officeDocument/2006/math">
                    <m:r>
                      <a:rPr lang="ru-RU" sz="2800" i="1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факт</m:t>
                    </m:r>
                    <m:r>
                      <a:rPr lang="en-US" sz="28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+mn-ea"/>
                        <a:cs typeface="+mn-cs"/>
                      </a:rPr>
                      <m:t>=2.000.000</m:t>
                    </m:r>
                  </m:oMath>
                </a14:m>
                <a:r>
                  <a:rPr lang="en-US" sz="280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 </a:t>
                </a:r>
                <a14:m>
                  <m:oMath xmlns:m="http://schemas.openxmlformats.org/officeDocument/2006/math">
                    <m:r>
                      <a:rPr lang="en-US" sz="2800" dirty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+mn-ea"/>
                        <a:cs typeface="+mn-cs"/>
                      </a:rPr>
                      <m:t>⟹</m:t>
                    </m:r>
                  </m:oMath>
                </a14:m>
                <a:r>
                  <a:rPr lang="en-US" sz="280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sz="2800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</m:ctrlPr>
                      </m:sSupPr>
                      <m:e>
                        <m:d>
                          <m:dPr>
                            <m:ctrlPr>
                              <a:rPr lang="en-US" sz="2800" i="1" dirty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+mn-ea"/>
                                <a:cs typeface="+mn-cs"/>
                              </a:rPr>
                            </m:ctrlPr>
                          </m:dPr>
                          <m:e>
                            <m:r>
                              <a:rPr lang="en-US" sz="2800" dirty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+mn-ea"/>
                                <a:cs typeface="+mn-cs"/>
                              </a:rPr>
                              <m:t>1.000.000−2.000.000</m:t>
                            </m:r>
                          </m:e>
                        </m:d>
                      </m:e>
                      <m:sup>
                        <m:r>
                          <a:rPr lang="en-US" sz="2800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2</m:t>
                        </m:r>
                      </m:sup>
                    </m:sSup>
                    <m:r>
                      <a:rPr lang="en-US" sz="2800" dirty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+mn-ea"/>
                        <a:cs typeface="+mn-cs"/>
                      </a:rPr>
                      <m:t>=</m:t>
                    </m:r>
                    <m:sSup>
                      <m:sSupPr>
                        <m:ctrlPr>
                          <a:rPr lang="en-US" sz="2800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</m:ctrlPr>
                      </m:sSupPr>
                      <m:e>
                        <m:r>
                          <a:rPr lang="en-US" sz="2800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10</m:t>
                        </m:r>
                      </m:e>
                      <m:sup>
                        <m:r>
                          <a:rPr lang="en-US" sz="2800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12</m:t>
                        </m:r>
                      </m:sup>
                    </m:sSup>
                  </m:oMath>
                </a14:m>
                <a:endParaRPr lang="ru-RU" sz="28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  <a:p>
                <a:pPr marL="304792" marR="0" lvl="0" indent="-304792" algn="l" defTabSz="1219170" rtl="0" eaLnBrk="1" fontAlgn="auto" latinLnBrk="0" hangingPunct="1">
                  <a:lnSpc>
                    <a:spcPct val="90000"/>
                  </a:lnSpc>
                  <a:spcBef>
                    <a:spcPts val="1333"/>
                  </a:spcBef>
                  <a:spcAft>
                    <a:spcPts val="0"/>
                  </a:spcAft>
                  <a:buClrTx/>
                  <a:buSzPct val="100000"/>
                  <a:buFont typeface="Arial"/>
                  <a:buChar char="•"/>
                  <a:tabLst/>
                  <a:defRPr/>
                </a:pPr>
                <a:endParaRPr lang="ru-RU" sz="28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  <a:p>
                <a:pPr marL="304792" marR="0" lvl="0" indent="-304792" algn="l" defTabSz="1219170" rtl="0" eaLnBrk="1" fontAlgn="auto" latinLnBrk="0" hangingPunct="1">
                  <a:lnSpc>
                    <a:spcPct val="90000"/>
                  </a:lnSpc>
                  <a:spcBef>
                    <a:spcPts val="1333"/>
                  </a:spcBef>
                  <a:spcAft>
                    <a:spcPts val="0"/>
                  </a:spcAft>
                  <a:buClrTx/>
                  <a:buSzPct val="100000"/>
                  <a:buFont typeface="Arial"/>
                  <a:buChar char="•"/>
                  <a:tabLst/>
                  <a:defRPr/>
                </a:pPr>
                <a:r>
                  <a:rPr lang="ru-RU" sz="280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Функция потерь должна соответствовать бизнес-требованиям</a:t>
                </a:r>
              </a:p>
              <a:p>
                <a:pPr marL="304792" marR="0" lvl="0" indent="-304792" algn="l" defTabSz="1219170" rtl="0" eaLnBrk="1" fontAlgn="auto" latinLnBrk="0" hangingPunct="1">
                  <a:lnSpc>
                    <a:spcPct val="90000"/>
                  </a:lnSpc>
                  <a:spcBef>
                    <a:spcPts val="1333"/>
                  </a:spcBef>
                  <a:spcAft>
                    <a:spcPts val="0"/>
                  </a:spcAft>
                  <a:buClrTx/>
                  <a:buSzPct val="100000"/>
                  <a:buFont typeface="Arial"/>
                  <a:buChar char="•"/>
                  <a:tabLst/>
                  <a:defRPr/>
                </a:pPr>
                <a:r>
                  <a:rPr lang="ru-RU" sz="280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Одна из самых важных составляющих анализа данных</a:t>
                </a:r>
              </a:p>
            </p:txBody>
          </p:sp>
        </mc:Choice>
        <mc:Fallback xmlns="">
          <p:sp>
            <p:nvSpPr>
              <p:cNvPr id="6" name="Content Placeholder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6519" y="1775327"/>
                <a:ext cx="11686307" cy="4835271"/>
              </a:xfrm>
              <a:prstGeom prst="rect">
                <a:avLst/>
              </a:prstGeom>
              <a:blipFill>
                <a:blip r:embed="rId2"/>
                <a:stretch>
                  <a:fillRect l="-1086" t="-1832"/>
                </a:stretch>
              </a:blipFill>
              <a:ln w="12700">
                <a:miter lim="400000"/>
              </a:ln>
              <a:extLst>
                <a:ext uri="{C572A759-6A51-4108-AA02-DFA0A04FC94B}">
                  <ma14:wrappingTextBoxFlag xmlns="" xmlns:ma14="http://schemas.microsoft.com/office/mac/drawingml/2011/main" xmlns:a14="http://schemas.microsoft.com/office/drawing/2010/main" val="1"/>
                </a:ext>
              </a:extLst>
            </p:spPr>
            <p:txBody>
              <a:bodyPr/>
              <a:lstStyle/>
              <a:p>
                <a:r>
                  <a:rPr lang="en-RU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98800242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dirty="0"/>
              <a:t>Есть обучающая выборка (+признаки)</a:t>
            </a:r>
            <a:endParaRPr lang="en-US" dirty="0"/>
          </a:p>
          <a:p>
            <a:r>
              <a:rPr lang="ru-RU" dirty="0"/>
              <a:t>Есть функция потерь</a:t>
            </a:r>
          </a:p>
          <a:p>
            <a:r>
              <a:rPr lang="ru-RU" dirty="0"/>
              <a:t>Есть набор алгоритмов (обычно задаются параметрами)</a:t>
            </a:r>
          </a:p>
          <a:p>
            <a:pPr lvl="1"/>
            <a:r>
              <a:rPr lang="ru-RU" dirty="0"/>
              <a:t>Пример: «Если зарплата больше </a:t>
            </a:r>
            <a:r>
              <a:rPr lang="en-US" b="1" dirty="0"/>
              <a:t>a</a:t>
            </a:r>
            <a:r>
              <a:rPr lang="ru-RU" dirty="0"/>
              <a:t>, даем кредит» (</a:t>
            </a:r>
            <a:r>
              <a:rPr lang="en-US" b="1" dirty="0"/>
              <a:t>a</a:t>
            </a:r>
            <a:r>
              <a:rPr lang="en-US" dirty="0"/>
              <a:t> </a:t>
            </a:r>
            <a:r>
              <a:rPr lang="mr-IN" dirty="0"/>
              <a:t>–</a:t>
            </a:r>
            <a:r>
              <a:rPr lang="en-US" dirty="0"/>
              <a:t> </a:t>
            </a:r>
            <a:r>
              <a:rPr lang="ru-RU" dirty="0"/>
              <a:t>параметр)</a:t>
            </a:r>
          </a:p>
          <a:p>
            <a:r>
              <a:rPr lang="ru-RU" dirty="0"/>
              <a:t>Обучение = </a:t>
            </a:r>
            <a:r>
              <a:rPr lang="ru-RU" b="1" dirty="0"/>
              <a:t>поиск оптимальных параметров </a:t>
            </a:r>
            <a:r>
              <a:rPr lang="ru-RU" dirty="0"/>
              <a:t>алгоритма с точки зрения функции потерь на обучающей выборке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Обучение алгоритм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053698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1" name="Shape 281"/>
          <p:cNvSpPr>
            <a:spLocks noGrp="1"/>
          </p:cNvSpPr>
          <p:nvPr>
            <p:ph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ru-RU" dirty="0"/>
              <a:t>Можно задать многими способами</a:t>
            </a:r>
          </a:p>
          <a:p>
            <a:r>
              <a:rPr lang="ru-RU" dirty="0"/>
              <a:t>Пример: предсказываем, возьмёт ли клиент кредит</a:t>
            </a:r>
          </a:p>
          <a:p>
            <a:r>
              <a:rPr lang="ru-RU" dirty="0"/>
              <a:t>Вариант 1: возьмёт </a:t>
            </a:r>
            <a:r>
              <a:rPr lang="en-US" dirty="0"/>
              <a:t>/ </a:t>
            </a:r>
            <a:r>
              <a:rPr lang="ru-RU" dirty="0"/>
              <a:t>не возьмёт</a:t>
            </a:r>
          </a:p>
          <a:p>
            <a:pPr lvl="1"/>
            <a:r>
              <a:rPr lang="ru-RU" dirty="0"/>
              <a:t>Можем сфокусироваться на мелких кредитах</a:t>
            </a:r>
          </a:p>
          <a:p>
            <a:pPr lvl="1"/>
            <a:r>
              <a:rPr lang="ru-RU" dirty="0"/>
              <a:t>Алгоритм не будет учитывать доходность кредитов</a:t>
            </a:r>
          </a:p>
          <a:p>
            <a:r>
              <a:rPr lang="ru-RU" dirty="0"/>
              <a:t>Вариант 2: не возьмёт </a:t>
            </a:r>
            <a:r>
              <a:rPr lang="en-US" dirty="0"/>
              <a:t>/ </a:t>
            </a:r>
            <a:r>
              <a:rPr lang="ru-RU" dirty="0"/>
              <a:t>возьмёт на 100-200 тысяч </a:t>
            </a:r>
            <a:r>
              <a:rPr lang="en-US" dirty="0"/>
              <a:t>/ </a:t>
            </a:r>
            <a:r>
              <a:rPr lang="ru-RU" dirty="0"/>
              <a:t>возьмёт на 200-500 тысяч </a:t>
            </a:r>
            <a:r>
              <a:rPr lang="en-US" dirty="0"/>
              <a:t>/ …</a:t>
            </a:r>
          </a:p>
          <a:p>
            <a:pPr lvl="1"/>
            <a:r>
              <a:rPr lang="ru-RU" dirty="0"/>
              <a:t>Можно выставить штрафы за разные ошибки</a:t>
            </a:r>
          </a:p>
          <a:p>
            <a:pPr lvl="1"/>
            <a:r>
              <a:rPr lang="ru-RU" dirty="0"/>
              <a:t>Можно сосредоточиться на самых доходных случаях</a:t>
            </a:r>
            <a:endParaRPr dirty="0"/>
          </a:p>
        </p:txBody>
      </p:sp>
      <p:sp>
        <p:nvSpPr>
          <p:cNvPr id="280" name="Shape 280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>
            <a:lvl1pPr defTabSz="813816">
              <a:defRPr sz="1958"/>
            </a:lvl1pPr>
          </a:lstStyle>
          <a:p>
            <a:pPr defTabSz="1219113"/>
            <a:r>
              <a:rPr lang="ru-RU" sz="3400" dirty="0"/>
              <a:t>Целевая переменная</a:t>
            </a:r>
            <a:endParaRPr sz="3400" dirty="0"/>
          </a:p>
        </p:txBody>
      </p:sp>
    </p:spTree>
    <p:extLst>
      <p:ext uri="{BB962C8B-B14F-4D97-AF65-F5344CB8AC3E}">
        <p14:creationId xmlns:p14="http://schemas.microsoft.com/office/powerpoint/2010/main" val="283904476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2" name="Content Placeholder 1">
                <a:extLst>
                  <a:ext uri="{FF2B5EF4-FFF2-40B4-BE49-F238E27FC236}">
                    <a16:creationId xmlns:a16="http://schemas.microsoft.com/office/drawing/2014/main" id="{0EA89A22-373E-AF43-A22E-EA6D185ADE67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r>
                  <a:rPr lang="ru-RU" dirty="0"/>
                  <a:t>Такие, где </a:t>
                </a:r>
                <a14:m>
                  <m:oMath xmlns:m="http://schemas.openxmlformats.org/officeDocument/2006/math">
                    <m:r>
                      <a:rPr lang="en-US" i="1" dirty="0">
                        <a:latin typeface="Cambria Math" panose="02040503050406030204" pitchFamily="18" charset="0"/>
                      </a:rPr>
                      <m:t>𝑎</m:t>
                    </m:r>
                    <m:d>
                      <m:dPr>
                        <m:ctrlPr>
                          <a:rPr lang="en-US" i="1" dirty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i="1" dirty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i="1" dirty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en-US" i="1" dirty="0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</m:e>
                    </m:d>
                    <m:r>
                      <a:rPr lang="en-US" i="1" dirty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≈</m:t>
                    </m:r>
                    <m:sSub>
                      <m:sSubPr>
                        <m:ctrlPr>
                          <a:rPr lang="en-US" i="1" dirty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 dirty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𝑦</m:t>
                        </m:r>
                      </m:e>
                      <m:sub>
                        <m:r>
                          <a:rPr lang="en-US" i="1" dirty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𝑖</m:t>
                        </m:r>
                      </m:sub>
                    </m:sSub>
                  </m:oMath>
                </a14:m>
                <a:r>
                  <a:rPr lang="ru-RU" dirty="0"/>
                  <a:t> с минимальной ошибкой</a:t>
                </a:r>
              </a:p>
              <a:p>
                <a:r>
                  <a:rPr lang="ru-RU" dirty="0"/>
                  <a:t>Что такое ошибка в нашем случае?</a:t>
                </a:r>
              </a:p>
            </p:txBody>
          </p:sp>
        </mc:Choice>
        <mc:Fallback xmlns="">
          <p:sp>
            <p:nvSpPr>
              <p:cNvPr id="2" name="Content Placeholder 1">
                <a:extLst>
                  <a:ext uri="{FF2B5EF4-FFF2-40B4-BE49-F238E27FC236}">
                    <a16:creationId xmlns:a16="http://schemas.microsoft.com/office/drawing/2014/main" id="{0EA89A22-373E-AF43-A22E-EA6D185ADE67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>
                <a:blip r:embed="rId2"/>
                <a:stretch>
                  <a:fillRect l="-868" t="-1807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Title 2">
            <a:extLst>
              <a:ext uri="{FF2B5EF4-FFF2-40B4-BE49-F238E27FC236}">
                <a16:creationId xmlns:a16="http://schemas.microsoft.com/office/drawing/2014/main" id="{AB68B0CE-A5B3-4346-B574-1ED1C236E9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ак понять какие параметры оптимальные?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Content Placeholder 1">
                <a:extLst>
                  <a:ext uri="{FF2B5EF4-FFF2-40B4-BE49-F238E27FC236}">
                    <a16:creationId xmlns:a16="http://schemas.microsoft.com/office/drawing/2014/main" id="{437304DF-E80D-1043-868C-35B28695C22F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-3328" y="2377719"/>
                <a:ext cx="5759189" cy="518187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lIns="60959" rIns="60959">
                <a:noAutofit/>
              </a:bodyPr>
              <a:lstStyle>
                <a:lvl1pPr marL="228600" marR="0" indent="-228600" algn="l" defTabSz="914400" rtl="0" latinLnBrk="0">
                  <a:lnSpc>
                    <a:spcPct val="9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Pct val="100000"/>
                  <a:buFont typeface="Arial"/>
                  <a:buChar char="•"/>
                  <a:tabLst/>
                  <a:defRPr sz="18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+mj-lt"/>
                    <a:ea typeface="+mj-ea"/>
                    <a:cs typeface="+mj-cs"/>
                    <a:sym typeface="Calibri"/>
                  </a:defRPr>
                </a:lvl1pPr>
                <a:lvl2pPr marL="685800" marR="0" indent="-228600" algn="l" defTabSz="914400" rtl="0" latinLnBrk="0">
                  <a:lnSpc>
                    <a:spcPct val="9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Pct val="100000"/>
                  <a:buFont typeface="Arial"/>
                  <a:buChar char="•"/>
                  <a:tabLst/>
                  <a:defRPr sz="18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+mj-lt"/>
                    <a:ea typeface="+mj-ea"/>
                    <a:cs typeface="+mj-cs"/>
                    <a:sym typeface="Calibri"/>
                  </a:defRPr>
                </a:lvl2pPr>
                <a:lvl3pPr marL="1143000" marR="0" indent="-228600" algn="l" defTabSz="914400" rtl="0" latinLnBrk="0">
                  <a:lnSpc>
                    <a:spcPct val="9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Pct val="100000"/>
                  <a:buFont typeface="Arial"/>
                  <a:buChar char="•"/>
                  <a:tabLst/>
                  <a:defRPr sz="18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+mj-lt"/>
                    <a:ea typeface="+mj-ea"/>
                    <a:cs typeface="+mj-cs"/>
                    <a:sym typeface="Calibri"/>
                  </a:defRPr>
                </a:lvl3pPr>
                <a:lvl4pPr marL="1600200" marR="0" indent="-228600" algn="l" defTabSz="914400" rtl="0" latinLnBrk="0">
                  <a:lnSpc>
                    <a:spcPct val="9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Pct val="100000"/>
                  <a:buFont typeface="Arial"/>
                  <a:buChar char="•"/>
                  <a:tabLst/>
                  <a:defRPr sz="18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+mj-lt"/>
                    <a:ea typeface="+mj-ea"/>
                    <a:cs typeface="+mj-cs"/>
                    <a:sym typeface="Calibri"/>
                  </a:defRPr>
                </a:lvl4pPr>
                <a:lvl5pPr marL="2057400" marR="0" indent="-228600" algn="l" defTabSz="914400" rtl="0" latinLnBrk="0">
                  <a:lnSpc>
                    <a:spcPct val="9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Pct val="100000"/>
                  <a:buFont typeface="Arial"/>
                  <a:buChar char="•"/>
                  <a:tabLst/>
                  <a:defRPr sz="18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+mj-lt"/>
                    <a:ea typeface="+mj-ea"/>
                    <a:cs typeface="+mj-cs"/>
                    <a:sym typeface="Calibri"/>
                  </a:defRPr>
                </a:lvl5pPr>
                <a:lvl6pPr marL="2641600" marR="0" indent="-355600" algn="l" defTabSz="914400" rtl="0" latinLnBrk="0">
                  <a:lnSpc>
                    <a:spcPct val="9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Pct val="100000"/>
                  <a:buFont typeface="Arial"/>
                  <a:buChar char="•"/>
                  <a:tabLst/>
                  <a:defRPr sz="28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+mj-lt"/>
                    <a:ea typeface="+mj-ea"/>
                    <a:cs typeface="+mj-cs"/>
                    <a:sym typeface="Calibri"/>
                  </a:defRPr>
                </a:lvl6pPr>
                <a:lvl7pPr marL="3098800" marR="0" indent="-355600" algn="l" defTabSz="914400" rtl="0" latinLnBrk="0">
                  <a:lnSpc>
                    <a:spcPct val="9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Pct val="100000"/>
                  <a:buFont typeface="Arial"/>
                  <a:buChar char="•"/>
                  <a:tabLst/>
                  <a:defRPr sz="28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+mj-lt"/>
                    <a:ea typeface="+mj-ea"/>
                    <a:cs typeface="+mj-cs"/>
                    <a:sym typeface="Calibri"/>
                  </a:defRPr>
                </a:lvl7pPr>
                <a:lvl8pPr marL="3556000" marR="0" indent="-355600" algn="l" defTabSz="914400" rtl="0" latinLnBrk="0">
                  <a:lnSpc>
                    <a:spcPct val="9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Pct val="100000"/>
                  <a:buFont typeface="Arial"/>
                  <a:buChar char="•"/>
                  <a:tabLst/>
                  <a:defRPr sz="28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+mj-lt"/>
                    <a:ea typeface="+mj-ea"/>
                    <a:cs typeface="+mj-cs"/>
                    <a:sym typeface="Calibri"/>
                  </a:defRPr>
                </a:lvl8pPr>
                <a:lvl9pPr marL="4013200" marR="0" indent="-355600" algn="l" defTabSz="914400" rtl="0" latinLnBrk="0">
                  <a:lnSpc>
                    <a:spcPct val="9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Pct val="100000"/>
                  <a:buFont typeface="Arial"/>
                  <a:buChar char="•"/>
                  <a:tabLst/>
                  <a:defRPr sz="28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+mj-lt"/>
                    <a:ea typeface="+mj-ea"/>
                    <a:cs typeface="+mj-cs"/>
                    <a:sym typeface="Calibri"/>
                  </a:defRPr>
                </a:lvl9pPr>
              </a:lstStyle>
              <a:p>
                <a:pPr marL="0" marR="0" lvl="0" indent="0" algn="ctr" defTabSz="1219170" rtl="0" eaLnBrk="1" fontAlgn="auto" latinLnBrk="0" hangingPunct="1">
                  <a:lnSpc>
                    <a:spcPct val="90000"/>
                  </a:lnSpc>
                  <a:spcBef>
                    <a:spcPts val="1333"/>
                  </a:spcBef>
                  <a:spcAft>
                    <a:spcPts val="0"/>
                  </a:spcAft>
                  <a:buClrTx/>
                  <a:buSzPct val="100000"/>
                  <a:buFont typeface="Arial"/>
                  <a:buNone/>
                  <a:tabLst/>
                  <a:defRPr/>
                </a:pPr>
                <a:r>
                  <a:rPr kumimoji="0" lang="ru-RU" sz="32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Calibri" panose="020F0502020204030204"/>
                    <a:ea typeface="+mj-ea"/>
                    <a:cs typeface="+mj-cs"/>
                    <a:sym typeface="Calibri"/>
                  </a:rPr>
                  <a:t>Модель</a:t>
                </a:r>
                <a:r>
                  <a:rPr kumimoji="0" lang="ru-RU" sz="32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Calibri Light" panose="020F0302020204030204"/>
                    <a:ea typeface="+mj-ea"/>
                    <a:cs typeface="+mj-cs"/>
                    <a:sym typeface="Calibri"/>
                  </a:rPr>
                  <a:t> </a:t>
                </a:r>
                <a14:m>
                  <m:oMath xmlns:m="http://schemas.openxmlformats.org/officeDocument/2006/math">
                    <m:r>
                      <a:rPr kumimoji="0" lang="en-US" sz="32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mbria Math" charset="0"/>
                        <a:ea typeface="+mj-ea"/>
                        <a:cs typeface="+mj-cs"/>
                        <a:sym typeface="Calibri"/>
                      </a:rPr>
                      <m:t>𝑎</m:t>
                    </m:r>
                    <m:d>
                      <m:dPr>
                        <m:ctrlPr>
                          <a:rPr kumimoji="0" lang="en-US" sz="32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j-ea"/>
                            <a:cs typeface="+mj-cs"/>
                            <a:sym typeface="Calibri"/>
                          </a:rPr>
                        </m:ctrlPr>
                      </m:dPr>
                      <m:e>
                        <m:r>
                          <a:rPr kumimoji="0" lang="en-US" sz="32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uLnTx/>
                            <a:uFillTx/>
                            <a:latin typeface="Cambria Math" charset="0"/>
                            <a:ea typeface="+mj-ea"/>
                            <a:cs typeface="+mj-cs"/>
                            <a:sym typeface="Calibri"/>
                          </a:rPr>
                          <m:t>𝑥</m:t>
                        </m:r>
                      </m:e>
                    </m:d>
                    <m:r>
                      <a:rPr kumimoji="0" lang="en-US" sz="32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mbria Math" charset="0"/>
                        <a:ea typeface="+mj-ea"/>
                        <a:cs typeface="+mj-cs"/>
                        <a:sym typeface="Calibri"/>
                      </a:rPr>
                      <m:t>=5∗</m:t>
                    </m:r>
                    <m:r>
                      <a:rPr kumimoji="0" lang="ru-RU" sz="32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mbria Math" charset="0"/>
                        <a:ea typeface="+mj-ea"/>
                        <a:cs typeface="+mj-cs"/>
                        <a:sym typeface="Calibri"/>
                      </a:rPr>
                      <m:t>площадь</m:t>
                    </m:r>
                  </m:oMath>
                </a14:m>
                <a:endParaRPr kumimoji="0" lang="en-US" sz="3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 Light" panose="020F0302020204030204"/>
                  <a:ea typeface="+mj-ea"/>
                  <a:cs typeface="+mj-cs"/>
                  <a:sym typeface="Calibri"/>
                </a:endParaRPr>
              </a:p>
            </p:txBody>
          </p:sp>
        </mc:Choice>
        <mc:Fallback xmlns="">
          <p:sp>
            <p:nvSpPr>
              <p:cNvPr id="4" name="Content Placeholder 1">
                <a:extLst>
                  <a:ext uri="{FF2B5EF4-FFF2-40B4-BE49-F238E27FC236}">
                    <a16:creationId xmlns:a16="http://schemas.microsoft.com/office/drawing/2014/main" id="{437304DF-E80D-1043-868C-35B28695C22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3328" y="2377719"/>
                <a:ext cx="5759189" cy="518187"/>
              </a:xfrm>
              <a:prstGeom prst="rect">
                <a:avLst/>
              </a:prstGeom>
              <a:blipFill>
                <a:blip r:embed="rId3"/>
                <a:stretch>
                  <a:fillRect t="-23810" b="-35714"/>
                </a:stretch>
              </a:blipFill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="" xmlns:a14="http://schemas.microsoft.com/office/drawing/2010/main" val="1"/>
                </a:ext>
              </a:extLst>
            </p:spPr>
            <p:txBody>
              <a:bodyPr/>
              <a:lstStyle/>
              <a:p>
                <a:r>
                  <a:rPr lang="en-RU">
                    <a:noFill/>
                  </a:rPr>
                  <a:t> </a:t>
                </a:r>
              </a:p>
            </p:txBody>
          </p:sp>
        </mc:Fallback>
      </mc:AlternateContent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D2290372-F962-4C4A-A1F4-0A138812E186}"/>
              </a:ext>
            </a:extLst>
          </p:cNvPr>
          <p:cNvGraphicFramePr>
            <a:graphicFrameLocks noGrp="1"/>
          </p:cNvGraphicFramePr>
          <p:nvPr/>
        </p:nvGraphicFramePr>
        <p:xfrm>
          <a:off x="271869" y="3007387"/>
          <a:ext cx="4283288" cy="2667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9164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2865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6299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28320">
                <a:tc>
                  <a:txBody>
                    <a:bodyPr/>
                    <a:lstStyle/>
                    <a:p>
                      <a:pPr algn="ctr"/>
                      <a:r>
                        <a:rPr lang="ru-RU" sz="2700" dirty="0"/>
                        <a:t>Площадь</a:t>
                      </a:r>
                      <a:endParaRPr lang="en-US" sz="2700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700" b="1" dirty="0"/>
                        <a:t>Прогноз</a:t>
                      </a:r>
                      <a:endParaRPr lang="en-US" sz="2700" b="1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700" dirty="0"/>
                        <a:t>Цена</a:t>
                      </a:r>
                      <a:endParaRPr lang="en-US" sz="2700" dirty="0"/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28320">
                <a:tc>
                  <a:txBody>
                    <a:bodyPr/>
                    <a:lstStyle/>
                    <a:p>
                      <a:pPr algn="ctr"/>
                      <a:r>
                        <a:rPr lang="ru-RU" sz="2700" dirty="0"/>
                        <a:t>50</a:t>
                      </a:r>
                      <a:endParaRPr lang="en-US" sz="2700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700" b="1" dirty="0"/>
                        <a:t>250</a:t>
                      </a:r>
                      <a:endParaRPr lang="en-US" sz="2700" b="1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700" dirty="0"/>
                        <a:t>250</a:t>
                      </a:r>
                      <a:endParaRPr lang="en-US" sz="2700" dirty="0"/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28320">
                <a:tc>
                  <a:txBody>
                    <a:bodyPr/>
                    <a:lstStyle/>
                    <a:p>
                      <a:pPr algn="ctr"/>
                      <a:r>
                        <a:rPr lang="ru-RU" sz="2700" dirty="0"/>
                        <a:t>60</a:t>
                      </a:r>
                      <a:endParaRPr lang="en-US" sz="2700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700" b="1" dirty="0"/>
                        <a:t>300</a:t>
                      </a:r>
                      <a:endParaRPr lang="en-US" sz="2700" b="1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700" dirty="0"/>
                        <a:t>340</a:t>
                      </a:r>
                      <a:endParaRPr lang="en-US" sz="2700" dirty="0"/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28320">
                <a:tc>
                  <a:txBody>
                    <a:bodyPr/>
                    <a:lstStyle/>
                    <a:p>
                      <a:pPr algn="ctr"/>
                      <a:r>
                        <a:rPr lang="ru-RU" sz="2700" dirty="0"/>
                        <a:t>10</a:t>
                      </a:r>
                      <a:endParaRPr lang="en-US" sz="2700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700" b="1" dirty="0"/>
                        <a:t>50</a:t>
                      </a:r>
                      <a:endParaRPr lang="en-US" sz="2700" b="1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700" dirty="0"/>
                        <a:t>20</a:t>
                      </a:r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28320">
                <a:tc>
                  <a:txBody>
                    <a:bodyPr/>
                    <a:lstStyle/>
                    <a:p>
                      <a:pPr algn="ctr"/>
                      <a:r>
                        <a:rPr lang="ru-RU" sz="2700" dirty="0"/>
                        <a:t>90</a:t>
                      </a:r>
                      <a:endParaRPr lang="en-US" sz="2700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700" b="1" dirty="0"/>
                        <a:t>450</a:t>
                      </a:r>
                      <a:endParaRPr lang="en-US" sz="2700" b="1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700" dirty="0"/>
                        <a:t>800</a:t>
                      </a:r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mc:AlternateContent xmlns:mc="http://schemas.openxmlformats.org/markup-compatibility/2006" xmlns:a14="http://schemas.microsoft.com/office/drawing/2010/main">
        <mc:Choice Requires="a14">
          <p:sp>
            <p:nvSpPr>
              <p:cNvPr id="6" name="Content Placeholder 1">
                <a:extLst>
                  <a:ext uri="{FF2B5EF4-FFF2-40B4-BE49-F238E27FC236}">
                    <a16:creationId xmlns:a16="http://schemas.microsoft.com/office/drawing/2014/main" id="{9DA6A761-55EC-5C48-8C41-7977E61C8895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112483" y="2352102"/>
                <a:ext cx="5947479" cy="569421"/>
              </a:xfrm>
              <a:prstGeom prst="rect">
                <a:avLst/>
              </a:prstGeom>
            </p:spPr>
            <p:txBody>
              <a:bodyPr vert="horz" lIns="121901" tIns="60951" rIns="121901" bIns="60951" rtlCol="0">
                <a:noAutofit/>
              </a:bodyPr>
              <a:lstStyle>
                <a:lvl1pPr marL="342839" indent="-342839" algn="l" defTabSz="914243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742823" indent="-285701" algn="l" defTabSz="914243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42801" indent="-228558" algn="l" defTabSz="914243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99920" indent="-228558" algn="l" defTabSz="914243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57042" indent="-228558" algn="l" defTabSz="914243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159" indent="-228558" algn="l" defTabSz="914243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282" indent="-228558" algn="l" defTabSz="914243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8402" indent="-228558" algn="l" defTabSz="914243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5521" indent="-228558" algn="l" defTabSz="914243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1218960" rtl="0" eaLnBrk="1" fontAlgn="auto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ru-RU" sz="32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  <a:sym typeface="Calibri"/>
                  </a:rPr>
                  <a:t>Модель </a:t>
                </a:r>
                <a14:m>
                  <m:oMath xmlns:m="http://schemas.openxmlformats.org/officeDocument/2006/math">
                    <m:r>
                      <a:rPr kumimoji="0" lang="en-US" sz="32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mbria Math" charset="0"/>
                        <a:ea typeface="+mn-ea"/>
                        <a:cs typeface="+mn-cs"/>
                        <a:sym typeface="Calibri"/>
                      </a:rPr>
                      <m:t>𝑎</m:t>
                    </m:r>
                    <m:d>
                      <m:dPr>
                        <m:ctrlPr>
                          <a:rPr kumimoji="0" lang="en-US" sz="32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cs typeface="+mn-cs"/>
                            <a:sym typeface="Calibri"/>
                          </a:rPr>
                        </m:ctrlPr>
                      </m:dPr>
                      <m:e>
                        <m:r>
                          <a:rPr kumimoji="0" lang="en-US" sz="32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uLnTx/>
                            <a:uFillTx/>
                            <a:latin typeface="Cambria Math" charset="0"/>
                            <a:ea typeface="+mn-ea"/>
                            <a:cs typeface="+mn-cs"/>
                            <a:sym typeface="Calibri"/>
                          </a:rPr>
                          <m:t>𝑥</m:t>
                        </m:r>
                      </m:e>
                    </m:d>
                    <m:r>
                      <a:rPr kumimoji="0" lang="en-US" sz="32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mbria Math" charset="0"/>
                        <a:ea typeface="+mn-ea"/>
                        <a:cs typeface="+mn-cs"/>
                        <a:sym typeface="Calibri"/>
                      </a:rPr>
                      <m:t>=0.1∗</m:t>
                    </m:r>
                    <m:r>
                      <a:rPr kumimoji="0" lang="ru-RU" sz="32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mbria Math" charset="0"/>
                        <a:ea typeface="+mn-ea"/>
                        <a:cs typeface="+mn-cs"/>
                        <a:sym typeface="Calibri"/>
                      </a:rPr>
                      <m:t>площад</m:t>
                    </m:r>
                    <m:sSup>
                      <m:sSupPr>
                        <m:ctrlPr>
                          <a:rPr kumimoji="0" lang="en-US" sz="32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cs typeface="+mn-cs"/>
                            <a:sym typeface="Calibri"/>
                          </a:rPr>
                        </m:ctrlPr>
                      </m:sSupPr>
                      <m:e>
                        <m:r>
                          <a:rPr kumimoji="0" lang="ru-RU" sz="32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uLnTx/>
                            <a:uFillTx/>
                            <a:latin typeface="Cambria Math" charset="0"/>
                            <a:ea typeface="+mn-ea"/>
                            <a:cs typeface="+mn-cs"/>
                            <a:sym typeface="Calibri"/>
                          </a:rPr>
                          <m:t>ь</m:t>
                        </m:r>
                      </m:e>
                      <m:sup>
                        <m:r>
                          <a:rPr kumimoji="0" lang="en-US" sz="32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uLnTx/>
                            <a:uFillTx/>
                            <a:latin typeface="Cambria Math" charset="0"/>
                            <a:ea typeface="+mn-ea"/>
                            <a:cs typeface="+mn-cs"/>
                            <a:sym typeface="Calibri"/>
                          </a:rPr>
                          <m:t>2</m:t>
                        </m:r>
                      </m:sup>
                    </m:sSup>
                  </m:oMath>
                </a14:m>
                <a:endParaRPr kumimoji="0" lang="en-US" sz="3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Calibri"/>
                </a:endParaRPr>
              </a:p>
              <a:p>
                <a:pPr marL="0" marR="0" lvl="0" indent="0" algn="l" defTabSz="1218960" rtl="0" eaLnBrk="1" fontAlgn="auto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3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Calibri"/>
                </a:endParaRPr>
              </a:p>
              <a:p>
                <a:pPr marL="0" marR="0" lvl="0" indent="0" algn="l" defTabSz="1218960" rtl="0" eaLnBrk="1" fontAlgn="auto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3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Calibri"/>
                </a:endParaRPr>
              </a:p>
              <a:p>
                <a:pPr marL="0" marR="0" lvl="0" indent="0" algn="l" defTabSz="1218960" rtl="0" eaLnBrk="1" fontAlgn="auto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3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Calibri"/>
                </a:endParaRPr>
              </a:p>
              <a:p>
                <a:pPr marL="0" marR="0" lvl="0" indent="0" algn="l" defTabSz="1218960" rtl="0" eaLnBrk="1" fontAlgn="auto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3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Calibri"/>
                </a:endParaRPr>
              </a:p>
              <a:p>
                <a:pPr marL="0" marR="0" lvl="0" indent="0" algn="l" defTabSz="1218960" rtl="0" eaLnBrk="1" fontAlgn="auto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3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Calibri"/>
                </a:endParaRPr>
              </a:p>
              <a:p>
                <a:pPr marL="0" marR="0" lvl="0" indent="0" algn="l" defTabSz="1218960" rtl="0" eaLnBrk="1" fontAlgn="auto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3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Calibri"/>
                </a:endParaRPr>
              </a:p>
              <a:p>
                <a:pPr marL="0" marR="0" lvl="0" indent="0" algn="l" defTabSz="1218960" rtl="0" eaLnBrk="1" fontAlgn="auto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ru-RU" sz="3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Calibri"/>
                </a:endParaRPr>
              </a:p>
            </p:txBody>
          </p:sp>
        </mc:Choice>
        <mc:Fallback xmlns="">
          <p:sp>
            <p:nvSpPr>
              <p:cNvPr id="6" name="Content Placeholder 1">
                <a:extLst>
                  <a:ext uri="{FF2B5EF4-FFF2-40B4-BE49-F238E27FC236}">
                    <a16:creationId xmlns:a16="http://schemas.microsoft.com/office/drawing/2014/main" id="{9DA6A761-55EC-5C48-8C41-7977E61C889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12483" y="2352102"/>
                <a:ext cx="5947479" cy="569421"/>
              </a:xfrm>
              <a:prstGeom prst="rect">
                <a:avLst/>
              </a:prstGeom>
              <a:blipFill>
                <a:blip r:embed="rId4"/>
                <a:stretch>
                  <a:fillRect l="-2132" t="-11111" b="-40000"/>
                </a:stretch>
              </a:blipFill>
            </p:spPr>
            <p:txBody>
              <a:bodyPr/>
              <a:lstStyle/>
              <a:p>
                <a:r>
                  <a:rPr lang="en-RU">
                    <a:noFill/>
                  </a:rPr>
                  <a:t> </a:t>
                </a:r>
              </a:p>
            </p:txBody>
          </p:sp>
        </mc:Fallback>
      </mc:AlternateContent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66925737-716F-6D46-B95A-C29853B0FC2E}"/>
              </a:ext>
            </a:extLst>
          </p:cNvPr>
          <p:cNvGraphicFramePr>
            <a:graphicFrameLocks noGrp="1"/>
          </p:cNvGraphicFramePr>
          <p:nvPr/>
        </p:nvGraphicFramePr>
        <p:xfrm>
          <a:off x="6145613" y="3007387"/>
          <a:ext cx="4283288" cy="2667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9164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2865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6299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28320">
                <a:tc>
                  <a:txBody>
                    <a:bodyPr/>
                    <a:lstStyle/>
                    <a:p>
                      <a:pPr algn="ctr"/>
                      <a:r>
                        <a:rPr lang="ru-RU" sz="2700" dirty="0"/>
                        <a:t>Площадь</a:t>
                      </a:r>
                      <a:endParaRPr lang="en-US" sz="2700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700" b="1" dirty="0"/>
                        <a:t>Прогноз</a:t>
                      </a:r>
                      <a:endParaRPr lang="en-US" sz="2700" b="1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700" dirty="0"/>
                        <a:t>Цена</a:t>
                      </a:r>
                      <a:endParaRPr lang="en-US" sz="2700" dirty="0"/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28320">
                <a:tc>
                  <a:txBody>
                    <a:bodyPr/>
                    <a:lstStyle/>
                    <a:p>
                      <a:pPr algn="ctr"/>
                      <a:r>
                        <a:rPr lang="ru-RU" sz="2700" dirty="0"/>
                        <a:t>50</a:t>
                      </a:r>
                      <a:endParaRPr lang="en-US" sz="2700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700" b="1" dirty="0"/>
                        <a:t>250</a:t>
                      </a:r>
                      <a:endParaRPr lang="en-US" sz="2700" b="1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700" dirty="0"/>
                        <a:t>250</a:t>
                      </a:r>
                      <a:endParaRPr lang="en-US" sz="2700" dirty="0"/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28320">
                <a:tc>
                  <a:txBody>
                    <a:bodyPr/>
                    <a:lstStyle/>
                    <a:p>
                      <a:pPr algn="ctr"/>
                      <a:r>
                        <a:rPr lang="ru-RU" sz="2700" dirty="0"/>
                        <a:t>60</a:t>
                      </a:r>
                      <a:endParaRPr lang="en-US" sz="2700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700" b="1" dirty="0"/>
                        <a:t>3</a:t>
                      </a:r>
                      <a:r>
                        <a:rPr lang="en-US" sz="2700" b="1" dirty="0"/>
                        <a:t>6</a:t>
                      </a:r>
                      <a:r>
                        <a:rPr lang="ru-RU" sz="2700" b="1" dirty="0"/>
                        <a:t>0</a:t>
                      </a:r>
                      <a:endParaRPr lang="en-US" sz="2700" b="1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700" dirty="0"/>
                        <a:t>340</a:t>
                      </a:r>
                      <a:endParaRPr lang="en-US" sz="2700" dirty="0"/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28320">
                <a:tc>
                  <a:txBody>
                    <a:bodyPr/>
                    <a:lstStyle/>
                    <a:p>
                      <a:pPr algn="ctr"/>
                      <a:r>
                        <a:rPr lang="ru-RU" sz="2700" dirty="0"/>
                        <a:t>10</a:t>
                      </a:r>
                      <a:endParaRPr lang="en-US" sz="2700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700" b="1" dirty="0"/>
                        <a:t>1</a:t>
                      </a:r>
                      <a:r>
                        <a:rPr lang="ru-RU" sz="2700" b="1" dirty="0"/>
                        <a:t>0</a:t>
                      </a:r>
                      <a:endParaRPr lang="en-US" sz="2700" b="1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700" dirty="0"/>
                        <a:t>20</a:t>
                      </a:r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28320">
                <a:tc>
                  <a:txBody>
                    <a:bodyPr/>
                    <a:lstStyle/>
                    <a:p>
                      <a:pPr algn="ctr"/>
                      <a:r>
                        <a:rPr lang="ru-RU" sz="2700" dirty="0"/>
                        <a:t>90</a:t>
                      </a:r>
                      <a:endParaRPr lang="en-US" sz="2700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700" b="1" dirty="0"/>
                        <a:t>810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700" dirty="0"/>
                        <a:t>800</a:t>
                      </a:r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8" name="Table 7">
                <a:extLst>
                  <a:ext uri="{FF2B5EF4-FFF2-40B4-BE49-F238E27FC236}">
                    <a16:creationId xmlns:a16="http://schemas.microsoft.com/office/drawing/2014/main" id="{8CB746DB-B9AE-0947-8111-63B3E8D6A96C}"/>
                  </a:ext>
                </a:extLst>
              </p:cNvPr>
              <p:cNvGraphicFramePr>
                <a:graphicFrameLocks noGrp="1"/>
              </p:cNvGraphicFramePr>
              <p:nvPr/>
            </p:nvGraphicFramePr>
            <p:xfrm>
              <a:off x="4570893" y="3007387"/>
              <a:ext cx="1427500" cy="2667000"/>
            </p:xfrm>
            <a:graphic>
              <a:graphicData uri="http://schemas.openxmlformats.org/drawingml/2006/table">
                <a:tbl>
                  <a:tblPr firstRow="1" bandRow="1">
                    <a:tableStyleId>{21E4AEA4-8DFA-4A89-87EB-49C32662AFE0}</a:tableStyleId>
                  </a:tblPr>
                  <a:tblGrid>
                    <a:gridCol w="1427500">
                      <a:extLst>
                        <a:ext uri="{9D8B030D-6E8A-4147-A177-3AD203B41FA5}">
                          <a16:colId xmlns:a16="http://schemas.microsoft.com/office/drawing/2014/main" val="610872241"/>
                        </a:ext>
                      </a:extLst>
                    </a:gridCol>
                  </a:tblGrid>
                  <a:tr h="528320"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p>
                                  <m:sSupPr>
                                    <m:ctrlPr>
                                      <a:rPr lang="en-US" sz="2700" i="1" dirty="0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pPr>
                                  <m:e>
                                    <m:d>
                                      <m:dPr>
                                        <m:ctrlPr>
                                          <a:rPr lang="en-US" sz="2700" i="1" dirty="0" smtClean="0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dPr>
                                      <m:e>
                                        <m:r>
                                          <a:rPr lang="en-US" sz="2700" dirty="0" smtClean="0">
                                            <a:latin typeface="Cambria Math" panose="02040503050406030204" pitchFamily="18" charset="0"/>
                                          </a:rPr>
                                          <m:t>𝑎</m:t>
                                        </m:r>
                                        <m:r>
                                          <a:rPr lang="en-US" sz="2700" dirty="0" smtClean="0">
                                            <a:latin typeface="Cambria Math" panose="02040503050406030204" pitchFamily="18" charset="0"/>
                                          </a:rPr>
                                          <m:t> – </m:t>
                                        </m:r>
                                        <m:r>
                                          <a:rPr lang="en-US" sz="2700" dirty="0" smtClean="0">
                                            <a:latin typeface="Cambria Math" panose="02040503050406030204" pitchFamily="18" charset="0"/>
                                          </a:rPr>
                                          <m:t>𝑦</m:t>
                                        </m:r>
                                      </m:e>
                                    </m:d>
                                  </m:e>
                                  <m:sup>
                                    <m:r>
                                      <a:rPr lang="en-US" sz="2700" dirty="0" smtClean="0"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sup>
                                </m:sSup>
                              </m:oMath>
                            </m:oMathPara>
                          </a14:m>
                          <a:endParaRPr lang="en-US" sz="2700" dirty="0"/>
                        </a:p>
                      </a:txBody>
                      <a:tcPr marL="121920" marR="121920" marT="60960" marB="60960" anchor="ctr"/>
                    </a:tc>
                    <a:extLst>
                      <a:ext uri="{0D108BD9-81ED-4DB2-BD59-A6C34878D82A}">
                        <a16:rowId xmlns:a16="http://schemas.microsoft.com/office/drawing/2014/main" val="1822106528"/>
                      </a:ext>
                    </a:extLst>
                  </a:tr>
                  <a:tr h="52832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2700" dirty="0"/>
                            <a:t>0</a:t>
                          </a:r>
                        </a:p>
                      </a:txBody>
                      <a:tcPr marL="121920" marR="121920" marT="60960" marB="60960" anchor="ctr"/>
                    </a:tc>
                    <a:extLst>
                      <a:ext uri="{0D108BD9-81ED-4DB2-BD59-A6C34878D82A}">
                        <a16:rowId xmlns:a16="http://schemas.microsoft.com/office/drawing/2014/main" val="307485284"/>
                      </a:ext>
                    </a:extLst>
                  </a:tr>
                  <a:tr h="52832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2700" dirty="0"/>
                            <a:t>1600</a:t>
                          </a:r>
                        </a:p>
                      </a:txBody>
                      <a:tcPr marL="121920" marR="121920" marT="60960" marB="60960" anchor="ctr"/>
                    </a:tc>
                    <a:extLst>
                      <a:ext uri="{0D108BD9-81ED-4DB2-BD59-A6C34878D82A}">
                        <a16:rowId xmlns:a16="http://schemas.microsoft.com/office/drawing/2014/main" val="390243137"/>
                      </a:ext>
                    </a:extLst>
                  </a:tr>
                  <a:tr h="52832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2700" dirty="0"/>
                            <a:t>900</a:t>
                          </a:r>
                        </a:p>
                      </a:txBody>
                      <a:tcPr marL="121920" marR="121920" marT="60960" marB="60960" anchor="ctr"/>
                    </a:tc>
                    <a:extLst>
                      <a:ext uri="{0D108BD9-81ED-4DB2-BD59-A6C34878D82A}">
                        <a16:rowId xmlns:a16="http://schemas.microsoft.com/office/drawing/2014/main" val="357550699"/>
                      </a:ext>
                    </a:extLst>
                  </a:tr>
                  <a:tr h="52832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2700" dirty="0"/>
                            <a:t>122500</a:t>
                          </a:r>
                        </a:p>
                      </a:txBody>
                      <a:tcPr marL="121920" marR="121920" marT="60960" marB="60960" anchor="ctr"/>
                    </a:tc>
                    <a:extLst>
                      <a:ext uri="{0D108BD9-81ED-4DB2-BD59-A6C34878D82A}">
                        <a16:rowId xmlns:a16="http://schemas.microsoft.com/office/drawing/2014/main" val="3779348756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8" name="Table 7">
                <a:extLst>
                  <a:ext uri="{FF2B5EF4-FFF2-40B4-BE49-F238E27FC236}">
                    <a16:creationId xmlns:a16="http://schemas.microsoft.com/office/drawing/2014/main" id="{8CB746DB-B9AE-0947-8111-63B3E8D6A96C}"/>
                  </a:ext>
                </a:extLst>
              </p:cNvPr>
              <p:cNvGraphicFramePr>
                <a:graphicFrameLocks noGrp="1"/>
              </p:cNvGraphicFramePr>
              <p:nvPr>
                <p:extLst/>
              </p:nvPr>
            </p:nvGraphicFramePr>
            <p:xfrm>
              <a:off x="4570893" y="3007387"/>
              <a:ext cx="1427500" cy="2667000"/>
            </p:xfrm>
            <a:graphic>
              <a:graphicData uri="http://schemas.openxmlformats.org/drawingml/2006/table">
                <a:tbl>
                  <a:tblPr firstRow="1" bandRow="1">
                    <a:tableStyleId>{21E4AEA4-8DFA-4A89-87EB-49C32662AFE0}</a:tableStyleId>
                  </a:tblPr>
                  <a:tblGrid>
                    <a:gridCol w="1427500">
                      <a:extLst>
                        <a:ext uri="{9D8B030D-6E8A-4147-A177-3AD203B41FA5}">
                          <a16:colId xmlns:a16="http://schemas.microsoft.com/office/drawing/2014/main" val="610872241"/>
                        </a:ext>
                      </a:extLst>
                    </a:gridCol>
                  </a:tblGrid>
                  <a:tr h="533400">
                    <a:tc>
                      <a:txBody>
                        <a:bodyPr/>
                        <a:lstStyle/>
                        <a:p>
                          <a:endParaRPr lang="ru-RU"/>
                        </a:p>
                      </a:txBody>
                      <a:tcPr marL="121920" marR="121920" marT="60960" marB="60960" anchor="ctr">
                        <a:blipFill>
                          <a:blip r:embed="rId5"/>
                          <a:stretch>
                            <a:fillRect r="-877" b="-426190"/>
                          </a:stretch>
                        </a:blipFill>
                      </a:tcPr>
                    </a:tc>
                    <a:extLst>
                      <a:ext uri="{0D108BD9-81ED-4DB2-BD59-A6C34878D82A}">
                        <a16:rowId xmlns:a16="http://schemas.microsoft.com/office/drawing/2014/main" val="1822106528"/>
                      </a:ext>
                    </a:extLst>
                  </a:tr>
                  <a:tr h="53340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2700" dirty="0"/>
                            <a:t>0</a:t>
                          </a:r>
                        </a:p>
                      </a:txBody>
                      <a:tcPr marL="121920" marR="121920" marT="60960" marB="60960" anchor="ctr"/>
                    </a:tc>
                    <a:extLst>
                      <a:ext uri="{0D108BD9-81ED-4DB2-BD59-A6C34878D82A}">
                        <a16:rowId xmlns:a16="http://schemas.microsoft.com/office/drawing/2014/main" val="307485284"/>
                      </a:ext>
                    </a:extLst>
                  </a:tr>
                  <a:tr h="53340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2700" dirty="0"/>
                            <a:t>1600</a:t>
                          </a:r>
                        </a:p>
                      </a:txBody>
                      <a:tcPr marL="121920" marR="121920" marT="60960" marB="60960" anchor="ctr"/>
                    </a:tc>
                    <a:extLst>
                      <a:ext uri="{0D108BD9-81ED-4DB2-BD59-A6C34878D82A}">
                        <a16:rowId xmlns:a16="http://schemas.microsoft.com/office/drawing/2014/main" val="390243137"/>
                      </a:ext>
                    </a:extLst>
                  </a:tr>
                  <a:tr h="53340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2700" dirty="0"/>
                            <a:t>900</a:t>
                          </a:r>
                        </a:p>
                      </a:txBody>
                      <a:tcPr marL="121920" marR="121920" marT="60960" marB="60960" anchor="ctr"/>
                    </a:tc>
                    <a:extLst>
                      <a:ext uri="{0D108BD9-81ED-4DB2-BD59-A6C34878D82A}">
                        <a16:rowId xmlns:a16="http://schemas.microsoft.com/office/drawing/2014/main" val="357550699"/>
                      </a:ext>
                    </a:extLst>
                  </a:tr>
                  <a:tr h="53340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2700" dirty="0"/>
                            <a:t>122500</a:t>
                          </a:r>
                        </a:p>
                      </a:txBody>
                      <a:tcPr marL="121920" marR="121920" marT="60960" marB="60960" anchor="ctr"/>
                    </a:tc>
                    <a:extLst>
                      <a:ext uri="{0D108BD9-81ED-4DB2-BD59-A6C34878D82A}">
                        <a16:rowId xmlns:a16="http://schemas.microsoft.com/office/drawing/2014/main" val="3779348756"/>
                      </a:ext>
                    </a:extLst>
                  </a:tr>
                </a:tbl>
              </a:graphicData>
            </a:graphic>
          </p:graphicFrame>
        </mc:Fallback>
      </mc:AlternateContent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9" name="Table 8">
                <a:extLst>
                  <a:ext uri="{FF2B5EF4-FFF2-40B4-BE49-F238E27FC236}">
                    <a16:creationId xmlns:a16="http://schemas.microsoft.com/office/drawing/2014/main" id="{8F123E2B-59C7-8A45-AEAB-128F1142E551}"/>
                  </a:ext>
                </a:extLst>
              </p:cNvPr>
              <p:cNvGraphicFramePr>
                <a:graphicFrameLocks noGrp="1"/>
              </p:cNvGraphicFramePr>
              <p:nvPr/>
            </p:nvGraphicFramePr>
            <p:xfrm>
              <a:off x="10449263" y="3007387"/>
              <a:ext cx="1526032" cy="2667000"/>
            </p:xfrm>
            <a:graphic>
              <a:graphicData uri="http://schemas.openxmlformats.org/drawingml/2006/table">
                <a:tbl>
                  <a:tblPr firstRow="1" bandRow="1">
                    <a:tableStyleId>{21E4AEA4-8DFA-4A89-87EB-49C32662AFE0}</a:tableStyleId>
                  </a:tblPr>
                  <a:tblGrid>
                    <a:gridCol w="1526032">
                      <a:extLst>
                        <a:ext uri="{9D8B030D-6E8A-4147-A177-3AD203B41FA5}">
                          <a16:colId xmlns:a16="http://schemas.microsoft.com/office/drawing/2014/main" val="3281354554"/>
                        </a:ext>
                      </a:extLst>
                    </a:gridCol>
                  </a:tblGrid>
                  <a:tr h="528320"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p>
                                  <m:sSupPr>
                                    <m:ctrlPr>
                                      <a:rPr lang="en-US" sz="2700" i="1" dirty="0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pPr>
                                  <m:e>
                                    <m:d>
                                      <m:dPr>
                                        <m:ctrlPr>
                                          <a:rPr lang="en-US" sz="2700" i="1" dirty="0" smtClean="0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dPr>
                                      <m:e>
                                        <m:r>
                                          <a:rPr lang="en-US" sz="2700" dirty="0" smtClean="0">
                                            <a:latin typeface="Cambria Math" panose="02040503050406030204" pitchFamily="18" charset="0"/>
                                          </a:rPr>
                                          <m:t>𝑎</m:t>
                                        </m:r>
                                        <m:r>
                                          <a:rPr lang="en-US" sz="2700" dirty="0" smtClean="0">
                                            <a:latin typeface="Cambria Math" panose="02040503050406030204" pitchFamily="18" charset="0"/>
                                          </a:rPr>
                                          <m:t> – </m:t>
                                        </m:r>
                                        <m:r>
                                          <a:rPr lang="en-US" sz="2700" dirty="0" smtClean="0">
                                            <a:latin typeface="Cambria Math" panose="02040503050406030204" pitchFamily="18" charset="0"/>
                                          </a:rPr>
                                          <m:t>𝑦</m:t>
                                        </m:r>
                                      </m:e>
                                    </m:d>
                                  </m:e>
                                  <m:sup>
                                    <m:r>
                                      <a:rPr lang="en-US" sz="2700" dirty="0" smtClean="0"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sup>
                                </m:sSup>
                              </m:oMath>
                            </m:oMathPara>
                          </a14:m>
                          <a:endParaRPr lang="en-US" sz="2700" dirty="0"/>
                        </a:p>
                      </a:txBody>
                      <a:tcPr marL="121920" marR="121920" marT="60960" marB="60960" anchor="ctr"/>
                    </a:tc>
                    <a:extLst>
                      <a:ext uri="{0D108BD9-81ED-4DB2-BD59-A6C34878D82A}">
                        <a16:rowId xmlns:a16="http://schemas.microsoft.com/office/drawing/2014/main" val="623991165"/>
                      </a:ext>
                    </a:extLst>
                  </a:tr>
                  <a:tr h="52832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2700" dirty="0"/>
                            <a:t>0</a:t>
                          </a:r>
                        </a:p>
                      </a:txBody>
                      <a:tcPr marL="121920" marR="121920" marT="60960" marB="60960" anchor="ctr"/>
                    </a:tc>
                    <a:extLst>
                      <a:ext uri="{0D108BD9-81ED-4DB2-BD59-A6C34878D82A}">
                        <a16:rowId xmlns:a16="http://schemas.microsoft.com/office/drawing/2014/main" val="2710137788"/>
                      </a:ext>
                    </a:extLst>
                  </a:tr>
                  <a:tr h="52832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2700" dirty="0"/>
                            <a:t>400</a:t>
                          </a:r>
                        </a:p>
                      </a:txBody>
                      <a:tcPr marL="121920" marR="121920" marT="60960" marB="60960" anchor="ctr"/>
                    </a:tc>
                    <a:extLst>
                      <a:ext uri="{0D108BD9-81ED-4DB2-BD59-A6C34878D82A}">
                        <a16:rowId xmlns:a16="http://schemas.microsoft.com/office/drawing/2014/main" val="2462729500"/>
                      </a:ext>
                    </a:extLst>
                  </a:tr>
                  <a:tr h="52832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2700" dirty="0"/>
                            <a:t>100</a:t>
                          </a:r>
                        </a:p>
                      </a:txBody>
                      <a:tcPr marL="121920" marR="121920" marT="60960" marB="60960" anchor="ctr"/>
                    </a:tc>
                    <a:extLst>
                      <a:ext uri="{0D108BD9-81ED-4DB2-BD59-A6C34878D82A}">
                        <a16:rowId xmlns:a16="http://schemas.microsoft.com/office/drawing/2014/main" val="1143414056"/>
                      </a:ext>
                    </a:extLst>
                  </a:tr>
                  <a:tr h="52832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2700" dirty="0"/>
                            <a:t>100</a:t>
                          </a:r>
                        </a:p>
                      </a:txBody>
                      <a:tcPr marL="121920" marR="121920" marT="60960" marB="60960" anchor="ctr"/>
                    </a:tc>
                    <a:extLst>
                      <a:ext uri="{0D108BD9-81ED-4DB2-BD59-A6C34878D82A}">
                        <a16:rowId xmlns:a16="http://schemas.microsoft.com/office/drawing/2014/main" val="1773037111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9" name="Table 8">
                <a:extLst>
                  <a:ext uri="{FF2B5EF4-FFF2-40B4-BE49-F238E27FC236}">
                    <a16:creationId xmlns:a16="http://schemas.microsoft.com/office/drawing/2014/main" id="{8F123E2B-59C7-8A45-AEAB-128F1142E551}"/>
                  </a:ext>
                </a:extLst>
              </p:cNvPr>
              <p:cNvGraphicFramePr>
                <a:graphicFrameLocks noGrp="1"/>
              </p:cNvGraphicFramePr>
              <p:nvPr>
                <p:extLst/>
              </p:nvPr>
            </p:nvGraphicFramePr>
            <p:xfrm>
              <a:off x="10449263" y="3007387"/>
              <a:ext cx="1526032" cy="2667000"/>
            </p:xfrm>
            <a:graphic>
              <a:graphicData uri="http://schemas.openxmlformats.org/drawingml/2006/table">
                <a:tbl>
                  <a:tblPr firstRow="1" bandRow="1">
                    <a:tableStyleId>{21E4AEA4-8DFA-4A89-87EB-49C32662AFE0}</a:tableStyleId>
                  </a:tblPr>
                  <a:tblGrid>
                    <a:gridCol w="1526032">
                      <a:extLst>
                        <a:ext uri="{9D8B030D-6E8A-4147-A177-3AD203B41FA5}">
                          <a16:colId xmlns:a16="http://schemas.microsoft.com/office/drawing/2014/main" val="3281354554"/>
                        </a:ext>
                      </a:extLst>
                    </a:gridCol>
                  </a:tblGrid>
                  <a:tr h="533400">
                    <a:tc>
                      <a:txBody>
                        <a:bodyPr/>
                        <a:lstStyle/>
                        <a:p>
                          <a:endParaRPr lang="ru-RU"/>
                        </a:p>
                      </a:txBody>
                      <a:tcPr marL="121920" marR="121920" marT="60960" marB="60960" anchor="ctr">
                        <a:blipFill>
                          <a:blip r:embed="rId6"/>
                          <a:stretch>
                            <a:fillRect r="-1653" b="-426190"/>
                          </a:stretch>
                        </a:blipFill>
                      </a:tcPr>
                    </a:tc>
                    <a:extLst>
                      <a:ext uri="{0D108BD9-81ED-4DB2-BD59-A6C34878D82A}">
                        <a16:rowId xmlns:a16="http://schemas.microsoft.com/office/drawing/2014/main" val="623991165"/>
                      </a:ext>
                    </a:extLst>
                  </a:tr>
                  <a:tr h="53340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2700" dirty="0"/>
                            <a:t>0</a:t>
                          </a:r>
                        </a:p>
                      </a:txBody>
                      <a:tcPr marL="121920" marR="121920" marT="60960" marB="60960" anchor="ctr"/>
                    </a:tc>
                    <a:extLst>
                      <a:ext uri="{0D108BD9-81ED-4DB2-BD59-A6C34878D82A}">
                        <a16:rowId xmlns:a16="http://schemas.microsoft.com/office/drawing/2014/main" val="2710137788"/>
                      </a:ext>
                    </a:extLst>
                  </a:tr>
                  <a:tr h="53340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2700" dirty="0"/>
                            <a:t>400</a:t>
                          </a:r>
                        </a:p>
                      </a:txBody>
                      <a:tcPr marL="121920" marR="121920" marT="60960" marB="60960" anchor="ctr"/>
                    </a:tc>
                    <a:extLst>
                      <a:ext uri="{0D108BD9-81ED-4DB2-BD59-A6C34878D82A}">
                        <a16:rowId xmlns:a16="http://schemas.microsoft.com/office/drawing/2014/main" val="2462729500"/>
                      </a:ext>
                    </a:extLst>
                  </a:tr>
                  <a:tr h="53340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2700" dirty="0"/>
                            <a:t>100</a:t>
                          </a:r>
                        </a:p>
                      </a:txBody>
                      <a:tcPr marL="121920" marR="121920" marT="60960" marB="60960" anchor="ctr"/>
                    </a:tc>
                    <a:extLst>
                      <a:ext uri="{0D108BD9-81ED-4DB2-BD59-A6C34878D82A}">
                        <a16:rowId xmlns:a16="http://schemas.microsoft.com/office/drawing/2014/main" val="1143414056"/>
                      </a:ext>
                    </a:extLst>
                  </a:tr>
                  <a:tr h="53340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2700" dirty="0"/>
                            <a:t>100</a:t>
                          </a:r>
                        </a:p>
                      </a:txBody>
                      <a:tcPr marL="121920" marR="121920" marT="60960" marB="60960" anchor="ctr"/>
                    </a:tc>
                    <a:extLst>
                      <a:ext uri="{0D108BD9-81ED-4DB2-BD59-A6C34878D82A}">
                        <a16:rowId xmlns:a16="http://schemas.microsoft.com/office/drawing/2014/main" val="1773037111"/>
                      </a:ext>
                    </a:extLst>
                  </a:tr>
                </a:tbl>
              </a:graphicData>
            </a:graphic>
          </p:graphicFrame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id="{D08C4082-F395-CB4C-9D04-FD9DA11F3237}"/>
                  </a:ext>
                </a:extLst>
              </p:cNvPr>
              <p:cNvSpPr/>
              <p:nvPr/>
            </p:nvSpPr>
            <p:spPr>
              <a:xfrm>
                <a:off x="753260" y="5663774"/>
                <a:ext cx="4565533" cy="112357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32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  <a:sym typeface="Calibri"/>
                  </a:rPr>
                  <a:t>MSE: </a:t>
                </a:r>
                <a:r>
                  <a:rPr kumimoji="0" lang="ru-RU" sz="32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  <a:sym typeface="Calibri"/>
                  </a:rPr>
                  <a:t>31250</a:t>
                </a:r>
                <a:endParaRPr kumimoji="0" lang="en-US" sz="3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Calibri"/>
                </a:endParaRPr>
              </a:p>
              <a:p>
                <a:pPr marL="0" marR="0" lvl="0" indent="0" algn="ctr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32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  <a:sym typeface="Calibri"/>
                  </a:rPr>
                  <a:t>RMSE = </a:t>
                </a:r>
                <a14:m>
                  <m:oMath xmlns:m="http://schemas.openxmlformats.org/officeDocument/2006/math">
                    <m:rad>
                      <m:radPr>
                        <m:degHide m:val="on"/>
                        <m:ctrlPr>
                          <a:rPr kumimoji="0" lang="en-US" sz="32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cs typeface="+mn-cs"/>
                            <a:sym typeface="Calibri"/>
                          </a:rPr>
                        </m:ctrlPr>
                      </m:radPr>
                      <m:deg/>
                      <m:e>
                        <m:r>
                          <a:rPr kumimoji="0" lang="en-US" sz="32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cs typeface="+mn-cs"/>
                            <a:sym typeface="Calibri"/>
                          </a:rPr>
                          <m:t>𝑀𝑆𝐸</m:t>
                        </m:r>
                      </m:e>
                    </m:rad>
                  </m:oMath>
                </a14:m>
                <a:r>
                  <a:rPr kumimoji="0" lang="ru-RU" sz="32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  <a:sym typeface="Calibri"/>
                  </a:rPr>
                  <a:t> =</a:t>
                </a:r>
                <a:r>
                  <a:rPr kumimoji="0" lang="en-US" sz="32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  <a:sym typeface="Calibri"/>
                  </a:rPr>
                  <a:t> 176</a:t>
                </a:r>
              </a:p>
            </p:txBody>
          </p:sp>
        </mc:Choice>
        <mc:Fallback xmlns=""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id="{D08C4082-F395-CB4C-9D04-FD9DA11F323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53260" y="5663774"/>
                <a:ext cx="4565533" cy="1123577"/>
              </a:xfrm>
              <a:prstGeom prst="rect">
                <a:avLst/>
              </a:prstGeom>
              <a:blipFill>
                <a:blip r:embed="rId7"/>
                <a:stretch>
                  <a:fillRect t="-6667" b="-15556"/>
                </a:stretch>
              </a:blipFill>
            </p:spPr>
            <p:txBody>
              <a:bodyPr/>
              <a:lstStyle/>
              <a:p>
                <a:r>
                  <a:rPr lang="en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8FE43375-5654-7145-A094-1F3778B3286F}"/>
                  </a:ext>
                </a:extLst>
              </p:cNvPr>
              <p:cNvSpPr/>
              <p:nvPr/>
            </p:nvSpPr>
            <p:spPr>
              <a:xfrm>
                <a:off x="7298267" y="5663774"/>
                <a:ext cx="3924323" cy="112357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32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  <a:sym typeface="Calibri"/>
                  </a:rPr>
                  <a:t>MSE: 150</a:t>
                </a:r>
              </a:p>
              <a:p>
                <a:pPr marL="0" marR="0" lvl="0" indent="0" algn="ctr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32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  <a:sym typeface="Calibri"/>
                  </a:rPr>
                  <a:t>RMSE = </a:t>
                </a:r>
                <a14:m>
                  <m:oMath xmlns:m="http://schemas.openxmlformats.org/officeDocument/2006/math">
                    <m:rad>
                      <m:radPr>
                        <m:degHide m:val="on"/>
                        <m:ctrlPr>
                          <a:rPr kumimoji="0" lang="en-US" sz="32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cs typeface="+mn-cs"/>
                            <a:sym typeface="Calibri"/>
                          </a:rPr>
                        </m:ctrlPr>
                      </m:radPr>
                      <m:deg/>
                      <m:e>
                        <m:r>
                          <a:rPr kumimoji="0" lang="en-US" sz="32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cs typeface="+mn-cs"/>
                            <a:sym typeface="Calibri"/>
                          </a:rPr>
                          <m:t>𝑀𝑆𝐸</m:t>
                        </m:r>
                      </m:e>
                    </m:rad>
                    <m:r>
                      <a:rPr kumimoji="0" lang="ru-RU" sz="3200" b="0" i="0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+mn-ea"/>
                        <a:cs typeface="+mn-cs"/>
                        <a:sym typeface="Calibri"/>
                      </a:rPr>
                      <m:t>=</m:t>
                    </m:r>
                  </m:oMath>
                </a14:m>
                <a:r>
                  <a:rPr kumimoji="0" lang="en-US" sz="32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  <a:sym typeface="Calibri"/>
                  </a:rPr>
                  <a:t> 12.2</a:t>
                </a:r>
              </a:p>
            </p:txBody>
          </p:sp>
        </mc:Choice>
        <mc:Fallback xmlns="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8FE43375-5654-7145-A094-1F3778B3286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98267" y="5663774"/>
                <a:ext cx="3924323" cy="1123577"/>
              </a:xfrm>
              <a:prstGeom prst="rect">
                <a:avLst/>
              </a:prstGeom>
              <a:blipFill>
                <a:blip r:embed="rId8"/>
                <a:stretch>
                  <a:fillRect l="-2903" t="-6667" r="-2903" b="-15556"/>
                </a:stretch>
              </a:blipFill>
            </p:spPr>
            <p:txBody>
              <a:bodyPr/>
              <a:lstStyle/>
              <a:p>
                <a:r>
                  <a:rPr lang="en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Alternate Process 11">
            <a:extLst>
              <a:ext uri="{FF2B5EF4-FFF2-40B4-BE49-F238E27FC236}">
                <a16:creationId xmlns:a16="http://schemas.microsoft.com/office/drawing/2014/main" id="{05B62EFD-7B23-3D42-9913-A2847426E0CA}"/>
              </a:ext>
            </a:extLst>
          </p:cNvPr>
          <p:cNvSpPr/>
          <p:nvPr/>
        </p:nvSpPr>
        <p:spPr>
          <a:xfrm>
            <a:off x="6112482" y="2116668"/>
            <a:ext cx="5947479" cy="4701353"/>
          </a:xfrm>
          <a:prstGeom prst="flowChartAlternateProcess">
            <a:avLst/>
          </a:prstGeom>
          <a:noFill/>
          <a:ln w="53975">
            <a:solidFill>
              <a:srgbClr val="FFC000"/>
            </a:solidFill>
            <a:rou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1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4897311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6" grpId="0"/>
      <p:bldP spid="10" grpId="0"/>
      <p:bldP spid="11" grpId="0"/>
      <p:bldP spid="12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" name="Shape 427"/>
          <p:cNvSpPr>
            <a:spLocks noGrp="1"/>
          </p:cNvSpPr>
          <p:nvPr>
            <p:ph idx="1"/>
          </p:nvPr>
        </p:nvSpPr>
        <p:spPr>
          <a:xfrm>
            <a:off x="236517" y="1187532"/>
            <a:ext cx="6274264" cy="5423067"/>
          </a:xfrm>
          <a:prstGeom prst="rect">
            <a:avLst/>
          </a:prstGeom>
        </p:spPr>
        <p:txBody>
          <a:bodyPr/>
          <a:lstStyle/>
          <a:p>
            <a:r>
              <a:rPr dirty="0" err="1"/>
              <a:t>Суд</a:t>
            </a:r>
            <a:r>
              <a:rPr dirty="0"/>
              <a:t>: </a:t>
            </a:r>
            <a:r>
              <a:rPr dirty="0" err="1"/>
              <a:t>Хадлум</a:t>
            </a:r>
            <a:r>
              <a:rPr dirty="0"/>
              <a:t> </a:t>
            </a:r>
            <a:r>
              <a:rPr dirty="0" err="1"/>
              <a:t>против</a:t>
            </a:r>
            <a:r>
              <a:rPr dirty="0"/>
              <a:t> </a:t>
            </a:r>
            <a:r>
              <a:rPr dirty="0" err="1"/>
              <a:t>Хадлум</a:t>
            </a:r>
            <a:r>
              <a:rPr dirty="0"/>
              <a:t>, 1949</a:t>
            </a:r>
          </a:p>
          <a:p>
            <a:r>
              <a:rPr dirty="0" err="1"/>
              <a:t>Миссис</a:t>
            </a:r>
            <a:r>
              <a:rPr dirty="0"/>
              <a:t> </a:t>
            </a:r>
            <a:r>
              <a:rPr dirty="0" err="1"/>
              <a:t>Хадлум</a:t>
            </a:r>
            <a:r>
              <a:rPr dirty="0"/>
              <a:t> </a:t>
            </a:r>
            <a:r>
              <a:rPr dirty="0" err="1"/>
              <a:t>родила</a:t>
            </a:r>
            <a:r>
              <a:rPr dirty="0"/>
              <a:t> </a:t>
            </a:r>
            <a:r>
              <a:rPr dirty="0" err="1"/>
              <a:t>ребёнка</a:t>
            </a:r>
            <a:r>
              <a:rPr dirty="0"/>
              <a:t> </a:t>
            </a:r>
            <a:r>
              <a:rPr dirty="0" err="1"/>
              <a:t>через</a:t>
            </a:r>
            <a:r>
              <a:rPr dirty="0"/>
              <a:t> 349 </a:t>
            </a:r>
            <a:r>
              <a:rPr dirty="0" err="1"/>
              <a:t>дней</a:t>
            </a:r>
            <a:r>
              <a:rPr dirty="0"/>
              <a:t> </a:t>
            </a:r>
            <a:r>
              <a:rPr dirty="0" err="1"/>
              <a:t>после</a:t>
            </a:r>
            <a:r>
              <a:rPr dirty="0"/>
              <a:t> </a:t>
            </a:r>
            <a:r>
              <a:rPr dirty="0" err="1"/>
              <a:t>того</a:t>
            </a:r>
            <a:r>
              <a:rPr dirty="0"/>
              <a:t>, </a:t>
            </a:r>
            <a:r>
              <a:rPr dirty="0" err="1"/>
              <a:t>как</a:t>
            </a:r>
            <a:r>
              <a:rPr dirty="0"/>
              <a:t> </a:t>
            </a:r>
            <a:r>
              <a:rPr dirty="0" err="1"/>
              <a:t>мистер</a:t>
            </a:r>
            <a:r>
              <a:rPr dirty="0"/>
              <a:t> </a:t>
            </a:r>
            <a:r>
              <a:rPr dirty="0" err="1"/>
              <a:t>Хадлум</a:t>
            </a:r>
            <a:r>
              <a:rPr dirty="0"/>
              <a:t> </a:t>
            </a:r>
            <a:r>
              <a:rPr dirty="0" err="1"/>
              <a:t>уехал</a:t>
            </a:r>
            <a:r>
              <a:rPr dirty="0"/>
              <a:t> </a:t>
            </a:r>
            <a:r>
              <a:rPr dirty="0" err="1"/>
              <a:t>на</a:t>
            </a:r>
            <a:r>
              <a:rPr dirty="0"/>
              <a:t> </a:t>
            </a:r>
            <a:r>
              <a:rPr dirty="0" err="1"/>
              <a:t>военную</a:t>
            </a:r>
            <a:r>
              <a:rPr dirty="0"/>
              <a:t> </a:t>
            </a:r>
            <a:r>
              <a:rPr dirty="0" err="1"/>
              <a:t>службу</a:t>
            </a:r>
            <a:endParaRPr dirty="0"/>
          </a:p>
          <a:p>
            <a:r>
              <a:rPr dirty="0" err="1"/>
              <a:t>Что</a:t>
            </a:r>
            <a:r>
              <a:rPr dirty="0"/>
              <a:t> </a:t>
            </a:r>
            <a:r>
              <a:rPr dirty="0" err="1"/>
              <a:t>здесь</a:t>
            </a:r>
            <a:r>
              <a:rPr dirty="0"/>
              <a:t> </a:t>
            </a:r>
            <a:r>
              <a:rPr dirty="0" err="1"/>
              <a:t>не</a:t>
            </a:r>
            <a:r>
              <a:rPr dirty="0"/>
              <a:t> </a:t>
            </a:r>
            <a:r>
              <a:rPr dirty="0" err="1"/>
              <a:t>так</a:t>
            </a:r>
            <a:r>
              <a:rPr dirty="0"/>
              <a:t>? </a:t>
            </a:r>
            <a:r>
              <a:rPr dirty="0" err="1"/>
              <a:t>Как</a:t>
            </a:r>
            <a:r>
              <a:rPr dirty="0"/>
              <a:t> </a:t>
            </a:r>
            <a:r>
              <a:rPr dirty="0" err="1"/>
              <a:t>это</a:t>
            </a:r>
            <a:r>
              <a:rPr dirty="0"/>
              <a:t> </a:t>
            </a:r>
            <a:r>
              <a:rPr dirty="0" err="1"/>
              <a:t>доказать</a:t>
            </a:r>
            <a:r>
              <a:rPr dirty="0"/>
              <a:t>?</a:t>
            </a:r>
          </a:p>
        </p:txBody>
      </p:sp>
      <p:sp>
        <p:nvSpPr>
          <p:cNvPr id="428" name="Shape 428"/>
          <p:cNvSpPr>
            <a:spLocks noGrp="1"/>
          </p:cNvSpPr>
          <p:nvPr>
            <p:ph type="sldNum" sz="quarter" idx="12"/>
          </p:nvPr>
        </p:nvSpPr>
        <p:spPr>
          <a:xfrm>
            <a:off x="11864260" y="6487043"/>
            <a:ext cx="300721" cy="338554"/>
          </a:xfrm>
          <a:prstGeom prst="rect">
            <a:avLst/>
          </a:prstGeom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/>
          <a:lstStyle/>
          <a:p>
            <a:pPr marL="0" marR="0" lvl="0" indent="0" algn="r" defTabSz="91437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1600" b="0" i="0" u="none" strike="noStrike" kern="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r" defTabSz="914377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429" name="Shape 429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 fontScale="90000"/>
          </a:bodyPr>
          <a:lstStyle>
            <a:lvl1pPr defTabSz="813816">
              <a:defRPr sz="1958"/>
            </a:lvl1pPr>
          </a:lstStyle>
          <a:p>
            <a:pPr defTabSz="1219170"/>
            <a:r>
              <a:rPr lang="ru-RU" sz="3733" dirty="0"/>
              <a:t>Нормальное распределение</a:t>
            </a:r>
            <a:endParaRPr sz="3733" dirty="0"/>
          </a:p>
        </p:txBody>
      </p:sp>
    </p:spTree>
    <p:extLst>
      <p:ext uri="{BB962C8B-B14F-4D97-AF65-F5344CB8AC3E}">
        <p14:creationId xmlns:p14="http://schemas.microsoft.com/office/powerpoint/2010/main" val="96989511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2" name="Content Placeholder 1">
                <a:extLst>
                  <a:ext uri="{FF2B5EF4-FFF2-40B4-BE49-F238E27FC236}">
                    <a16:creationId xmlns:a16="http://schemas.microsoft.com/office/drawing/2014/main" id="{A9053096-FF8D-0C45-9E86-4F16840671F7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r>
                  <a:rPr lang="ru-RU" b="1" dirty="0"/>
                  <a:t>Эксперт</a:t>
                </a:r>
                <a:r>
                  <a:rPr lang="ru-RU" dirty="0"/>
                  <a:t> придумывает признаки (столбцы)</a:t>
                </a:r>
              </a:p>
              <a:p>
                <a:r>
                  <a:rPr lang="ru-RU" b="1" dirty="0"/>
                  <a:t>Эксперт</a:t>
                </a:r>
                <a:r>
                  <a:rPr lang="ru-RU" dirty="0"/>
                  <a:t> придумывает вид формулы (задает класс моделей)</a:t>
                </a:r>
              </a:p>
              <a:p>
                <a:pPr lvl="1"/>
                <a:r>
                  <a:rPr lang="ru-RU" dirty="0"/>
                  <a:t>Например: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 dirty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 dirty="0">
                            <a:latin typeface="Cambria Math" charset="0"/>
                          </a:rPr>
                          <m:t>𝑤</m:t>
                        </m:r>
                      </m:e>
                      <m:sub>
                        <m:r>
                          <a:rPr lang="en-US" i="1" dirty="0">
                            <a:latin typeface="Cambria Math" charset="0"/>
                          </a:rPr>
                          <m:t>1</m:t>
                        </m:r>
                      </m:sub>
                    </m:sSub>
                    <m:r>
                      <a:rPr lang="en-US" i="1" dirty="0">
                        <a:latin typeface="Cambria Math" charset="0"/>
                      </a:rPr>
                      <m:t>∗</m:t>
                    </m:r>
                    <m:r>
                      <a:rPr lang="ru-RU" i="1" dirty="0">
                        <a:latin typeface="Cambria Math" charset="0"/>
                      </a:rPr>
                      <m:t>площадь</m:t>
                    </m:r>
                  </m:oMath>
                </a14:m>
                <a:endParaRPr lang="ru-RU" dirty="0"/>
              </a:p>
              <a:p>
                <a:r>
                  <a:rPr lang="ru-RU" b="1" dirty="0"/>
                  <a:t>Компьютер</a:t>
                </a:r>
                <a:r>
                  <a:rPr lang="ru-RU" dirty="0"/>
                  <a:t> подбирает параметры формулы 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 dirty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 dirty="0">
                            <a:latin typeface="Cambria Math" charset="0"/>
                          </a:rPr>
                          <m:t>𝑤</m:t>
                        </m:r>
                      </m:e>
                      <m:sub>
                        <m:r>
                          <a:rPr lang="en-US" i="1" dirty="0">
                            <a:latin typeface="Cambria Math" charset="0"/>
                          </a:rPr>
                          <m:t>1</m:t>
                        </m:r>
                      </m:sub>
                    </m:sSub>
                  </m:oMath>
                </a14:m>
                <a:r>
                  <a:rPr lang="ru-RU" dirty="0"/>
                  <a:t>из примера) так, чтобы ошибка на обучающей выборка была как можно меньше</a:t>
                </a:r>
              </a:p>
            </p:txBody>
          </p:sp>
        </mc:Choice>
        <mc:Fallback xmlns="">
          <p:sp>
            <p:nvSpPr>
              <p:cNvPr id="2" name="Content Placeholder 1">
                <a:extLst>
                  <a:ext uri="{FF2B5EF4-FFF2-40B4-BE49-F238E27FC236}">
                    <a16:creationId xmlns:a16="http://schemas.microsoft.com/office/drawing/2014/main" id="{A9053096-FF8D-0C45-9E86-4F16840671F7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>
                <a:blip r:embed="rId2"/>
                <a:stretch>
                  <a:fillRect l="-1194" t="-2257"/>
                </a:stretch>
              </a:blipFill>
            </p:spPr>
            <p:txBody>
              <a:bodyPr/>
              <a:lstStyle/>
              <a:p>
                <a:r>
                  <a:rPr lang="en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Title 2">
            <a:extLst>
              <a:ext uri="{FF2B5EF4-FFF2-40B4-BE49-F238E27FC236}">
                <a16:creationId xmlns:a16="http://schemas.microsoft.com/office/drawing/2014/main" id="{5E863DA9-66DA-CC4B-BDD1-D42EF59BC4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ак происходит обучение</a:t>
            </a:r>
          </a:p>
        </p:txBody>
      </p:sp>
    </p:spTree>
    <p:extLst>
      <p:ext uri="{BB962C8B-B14F-4D97-AF65-F5344CB8AC3E}">
        <p14:creationId xmlns:p14="http://schemas.microsoft.com/office/powerpoint/2010/main" val="154984371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Схема работы машинного обучения</a:t>
            </a:r>
            <a:endParaRPr lang="en-US" dirty="0"/>
          </a:p>
        </p:txBody>
      </p:sp>
      <p:sp>
        <p:nvSpPr>
          <p:cNvPr id="5" name="Rectangle 3"/>
          <p:cNvSpPr/>
          <p:nvPr/>
        </p:nvSpPr>
        <p:spPr>
          <a:xfrm>
            <a:off x="1383891" y="1409541"/>
            <a:ext cx="2561044" cy="1059041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Calibri"/>
              </a:rPr>
              <a:t>Обучающая выборка</a:t>
            </a:r>
          </a:p>
        </p:txBody>
      </p:sp>
      <p:sp>
        <p:nvSpPr>
          <p:cNvPr id="6" name="Rectangle 4"/>
          <p:cNvSpPr/>
          <p:nvPr/>
        </p:nvSpPr>
        <p:spPr>
          <a:xfrm>
            <a:off x="4792133" y="1413738"/>
            <a:ext cx="2363587" cy="1059041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Calibri"/>
              </a:rPr>
              <a:t>Извлечение признаков</a:t>
            </a: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Calibri"/>
            </a:endParaRPr>
          </a:p>
        </p:txBody>
      </p:sp>
      <p:sp>
        <p:nvSpPr>
          <p:cNvPr id="7" name="Rectangle 5"/>
          <p:cNvSpPr/>
          <p:nvPr/>
        </p:nvSpPr>
        <p:spPr>
          <a:xfrm>
            <a:off x="7981950" y="1409541"/>
            <a:ext cx="2113261" cy="1026817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Calibri"/>
              </a:rPr>
              <a:t>Обучение</a:t>
            </a:r>
          </a:p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Calibri"/>
              </a:rPr>
              <a:t>алгоритма</a:t>
            </a: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Calibri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Rectangle 6"/>
              <p:cNvSpPr/>
              <p:nvPr/>
            </p:nvSpPr>
            <p:spPr>
              <a:xfrm>
                <a:off x="7981949" y="4413688"/>
                <a:ext cx="2113263" cy="833457"/>
              </a:xfrm>
              <a:prstGeom prst="rect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0" lang="en-US" sz="3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charset="0"/>
                          <a:ea typeface="+mn-ea"/>
                          <a:cs typeface="+mn-cs"/>
                          <a:sym typeface="Calibri"/>
                        </a:rPr>
                        <m:t>𝑎</m:t>
                      </m:r>
                      <m:r>
                        <a:rPr kumimoji="0" lang="en-US" sz="3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charset="0"/>
                          <a:ea typeface="+mn-ea"/>
                          <a:cs typeface="+mn-cs"/>
                          <a:sym typeface="Calibri"/>
                        </a:rPr>
                        <m:t>(</m:t>
                      </m:r>
                      <m:r>
                        <a:rPr kumimoji="0" lang="en-US" sz="3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charset="0"/>
                          <a:ea typeface="+mn-ea"/>
                          <a:cs typeface="+mn-cs"/>
                          <a:sym typeface="Calibri"/>
                        </a:rPr>
                        <m:t>𝑥</m:t>
                      </m:r>
                      <m:r>
                        <a:rPr kumimoji="0" lang="en-US" sz="3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charset="0"/>
                          <a:ea typeface="+mn-ea"/>
                          <a:cs typeface="+mn-cs"/>
                          <a:sym typeface="Calibri"/>
                        </a:rPr>
                        <m:t>)</m:t>
                      </m:r>
                    </m:oMath>
                  </m:oMathPara>
                </a14:m>
                <a:endParaRPr kumimoji="0" lang="en-US" sz="3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Calibri"/>
                </a:endParaRPr>
              </a:p>
            </p:txBody>
          </p:sp>
        </mc:Choice>
        <mc:Fallback xmlns="">
          <p:sp>
            <p:nvSpPr>
              <p:cNvPr id="8" name="Rectangle 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981949" y="4413688"/>
                <a:ext cx="2113263" cy="833457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Rectangle 7"/>
          <p:cNvSpPr/>
          <p:nvPr/>
        </p:nvSpPr>
        <p:spPr>
          <a:xfrm>
            <a:off x="2552526" y="4572989"/>
            <a:ext cx="2898689" cy="728676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Calibri"/>
              </a:rPr>
              <a:t>Новый объект</a:t>
            </a: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Calibri"/>
            </a:endParaRPr>
          </a:p>
        </p:txBody>
      </p:sp>
      <p:sp>
        <p:nvSpPr>
          <p:cNvPr id="10" name="Rectangle 8"/>
          <p:cNvSpPr/>
          <p:nvPr/>
        </p:nvSpPr>
        <p:spPr>
          <a:xfrm>
            <a:off x="7687087" y="6023180"/>
            <a:ext cx="2702984" cy="639587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Calibri"/>
              </a:rPr>
              <a:t>Предсказание</a:t>
            </a: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Calibri"/>
            </a:endParaRPr>
          </a:p>
        </p:txBody>
      </p:sp>
      <p:sp>
        <p:nvSpPr>
          <p:cNvPr id="11" name="Right Arrow 9"/>
          <p:cNvSpPr/>
          <p:nvPr/>
        </p:nvSpPr>
        <p:spPr>
          <a:xfrm>
            <a:off x="4031889" y="1787612"/>
            <a:ext cx="652323" cy="328731"/>
          </a:xfrm>
          <a:prstGeom prst="rightArrow">
            <a:avLst/>
          </a:prstGeom>
          <a:solidFill>
            <a:srgbClr val="87C53B"/>
          </a:solidFill>
          <a:ln>
            <a:solidFill>
              <a:srgbClr val="87C53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Calibri"/>
            </a:endParaRPr>
          </a:p>
        </p:txBody>
      </p:sp>
      <p:sp>
        <p:nvSpPr>
          <p:cNvPr id="12" name="Right Arrow 10"/>
          <p:cNvSpPr/>
          <p:nvPr/>
        </p:nvSpPr>
        <p:spPr>
          <a:xfrm>
            <a:off x="7242673" y="1807048"/>
            <a:ext cx="652323" cy="328731"/>
          </a:xfrm>
          <a:prstGeom prst="rightArrow">
            <a:avLst/>
          </a:prstGeom>
          <a:solidFill>
            <a:srgbClr val="87C53B"/>
          </a:solidFill>
          <a:ln>
            <a:solidFill>
              <a:srgbClr val="87C53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Calibri"/>
            </a:endParaRPr>
          </a:p>
        </p:txBody>
      </p:sp>
      <p:sp>
        <p:nvSpPr>
          <p:cNvPr id="13" name="Down Arrow 11"/>
          <p:cNvSpPr/>
          <p:nvPr/>
        </p:nvSpPr>
        <p:spPr>
          <a:xfrm>
            <a:off x="8799784" y="2492665"/>
            <a:ext cx="477595" cy="269547"/>
          </a:xfrm>
          <a:prstGeom prst="downArrow">
            <a:avLst/>
          </a:prstGeom>
          <a:solidFill>
            <a:srgbClr val="87C53B"/>
          </a:solidFill>
          <a:ln>
            <a:solidFill>
              <a:srgbClr val="87C53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Calibri"/>
            </a:endParaRPr>
          </a:p>
        </p:txBody>
      </p:sp>
      <p:sp>
        <p:nvSpPr>
          <p:cNvPr id="14" name="Right Arrow 12"/>
          <p:cNvSpPr/>
          <p:nvPr/>
        </p:nvSpPr>
        <p:spPr>
          <a:xfrm>
            <a:off x="5694730" y="4721091"/>
            <a:ext cx="2166644" cy="414707"/>
          </a:xfrm>
          <a:prstGeom prst="rightArrow">
            <a:avLst/>
          </a:prstGeom>
          <a:solidFill>
            <a:srgbClr val="87C53B"/>
          </a:solidFill>
          <a:ln>
            <a:solidFill>
              <a:srgbClr val="87C53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Calibri"/>
            </a:endParaRPr>
          </a:p>
        </p:txBody>
      </p:sp>
      <p:sp>
        <p:nvSpPr>
          <p:cNvPr id="15" name="Down Arrow 13"/>
          <p:cNvSpPr/>
          <p:nvPr/>
        </p:nvSpPr>
        <p:spPr>
          <a:xfrm>
            <a:off x="8799784" y="5349394"/>
            <a:ext cx="477595" cy="516093"/>
          </a:xfrm>
          <a:prstGeom prst="downArrow">
            <a:avLst/>
          </a:prstGeom>
          <a:solidFill>
            <a:srgbClr val="87C53B"/>
          </a:solidFill>
          <a:ln>
            <a:solidFill>
              <a:srgbClr val="87C53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Calibri"/>
            </a:endParaRPr>
          </a:p>
        </p:txBody>
      </p:sp>
      <p:sp>
        <p:nvSpPr>
          <p:cNvPr id="17" name="Rectangle 5"/>
          <p:cNvSpPr/>
          <p:nvPr/>
        </p:nvSpPr>
        <p:spPr>
          <a:xfrm>
            <a:off x="7912805" y="2840257"/>
            <a:ext cx="2251547" cy="1052353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Calibri"/>
              </a:rPr>
              <a:t>Валидация</a:t>
            </a:r>
          </a:p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Calibri"/>
              </a:rPr>
              <a:t>алгоритма</a:t>
            </a: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Calibri"/>
            </a:endParaRPr>
          </a:p>
        </p:txBody>
      </p:sp>
      <p:sp>
        <p:nvSpPr>
          <p:cNvPr id="18" name="Down Arrow 11"/>
          <p:cNvSpPr/>
          <p:nvPr/>
        </p:nvSpPr>
        <p:spPr>
          <a:xfrm>
            <a:off x="8799781" y="3996122"/>
            <a:ext cx="477595" cy="343817"/>
          </a:xfrm>
          <a:prstGeom prst="downArrow">
            <a:avLst/>
          </a:prstGeom>
          <a:solidFill>
            <a:srgbClr val="87C53B"/>
          </a:solidFill>
          <a:ln>
            <a:solidFill>
              <a:srgbClr val="87C53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Calibri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003229" y="2394981"/>
            <a:ext cx="325685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0" i="1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Calibri"/>
              </a:rPr>
              <a:t>Тысячи объектов</a:t>
            </a:r>
            <a:endParaRPr kumimoji="0" lang="en-US" sz="3200" b="0" i="1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Calibri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739113" y="5384638"/>
            <a:ext cx="446449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0" i="1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Calibri"/>
              </a:rPr>
              <a:t>Сотни тысяч объектов</a:t>
            </a:r>
            <a:endParaRPr kumimoji="0" lang="en-US" sz="3200" b="0" i="1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Calibri"/>
            </a:endParaRPr>
          </a:p>
        </p:txBody>
      </p:sp>
      <p:sp>
        <p:nvSpPr>
          <p:cNvPr id="22" name="Alternate Process 21">
            <a:extLst>
              <a:ext uri="{FF2B5EF4-FFF2-40B4-BE49-F238E27FC236}">
                <a16:creationId xmlns:a16="http://schemas.microsoft.com/office/drawing/2014/main" id="{7E9E6D90-9018-8246-9476-2C49DDD557BB}"/>
              </a:ext>
            </a:extLst>
          </p:cNvPr>
          <p:cNvSpPr/>
          <p:nvPr/>
        </p:nvSpPr>
        <p:spPr>
          <a:xfrm>
            <a:off x="801486" y="1219200"/>
            <a:ext cx="6697429" cy="1791333"/>
          </a:xfrm>
          <a:prstGeom prst="flowChartAlternateProcess">
            <a:avLst/>
          </a:prstGeom>
          <a:noFill/>
          <a:ln w="53975">
            <a:solidFill>
              <a:srgbClr val="FFC000"/>
            </a:solidFill>
            <a:rou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1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9590426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5919252" y="8705816"/>
            <a:ext cx="300721" cy="338554"/>
          </a:xfrm>
        </p:spPr>
        <p:txBody>
          <a:bodyPr/>
          <a:lstStyle/>
          <a:p>
            <a:pPr marL="0" marR="0" lvl="0" indent="0" algn="r" defTabSz="91437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lang="uk-UA" sz="1600" b="0" i="0" u="none" strike="noStrike" kern="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r" defTabSz="914377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uk-UA" sz="16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Обучение алгоритма</a:t>
            </a:r>
            <a:endParaRPr lang="en-US" dirty="0"/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7D2065F0-C233-3946-AB4F-AA011312ABDC}"/>
              </a:ext>
            </a:extLst>
          </p:cNvPr>
          <p:cNvSpPr/>
          <p:nvPr/>
        </p:nvSpPr>
        <p:spPr>
          <a:xfrm>
            <a:off x="2690648" y="1996965"/>
            <a:ext cx="2154620" cy="2154620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400" dirty="0"/>
              <a:t>Модель</a:t>
            </a:r>
          </a:p>
          <a:p>
            <a:pPr algn="ctr"/>
            <a:endParaRPr lang="ru-RU" sz="2400" dirty="0"/>
          </a:p>
          <a:p>
            <a:pPr algn="ctr"/>
            <a:endParaRPr lang="en-RU" sz="2400" dirty="0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D341DD4B-899C-8746-BA91-A81F63B67A8A}"/>
              </a:ext>
            </a:extLst>
          </p:cNvPr>
          <p:cNvSpPr/>
          <p:nvPr/>
        </p:nvSpPr>
        <p:spPr>
          <a:xfrm>
            <a:off x="2942896" y="3295731"/>
            <a:ext cx="1650124" cy="683173"/>
          </a:xfrm>
          <a:prstGeom prst="round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/>
              <a:t>Параметры</a:t>
            </a:r>
            <a:endParaRPr lang="en-RU" dirty="0"/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4A1303E3-35EF-5C48-8C9F-4F426F3A44D8}"/>
              </a:ext>
            </a:extLst>
          </p:cNvPr>
          <p:cNvSpPr/>
          <p:nvPr/>
        </p:nvSpPr>
        <p:spPr>
          <a:xfrm>
            <a:off x="388882" y="2798009"/>
            <a:ext cx="1366345" cy="552531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Объект</a:t>
            </a:r>
            <a:endParaRPr lang="en-RU" dirty="0"/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5F1DB219-42B2-8B45-B343-E93EC43C4276}"/>
              </a:ext>
            </a:extLst>
          </p:cNvPr>
          <p:cNvSpPr/>
          <p:nvPr/>
        </p:nvSpPr>
        <p:spPr>
          <a:xfrm>
            <a:off x="5780689" y="2798009"/>
            <a:ext cx="1513491" cy="552531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Ответ модели</a:t>
            </a:r>
            <a:endParaRPr lang="en-RU" dirty="0"/>
          </a:p>
        </p:txBody>
      </p:sp>
      <p:sp>
        <p:nvSpPr>
          <p:cNvPr id="9" name="Right Arrow 8">
            <a:extLst>
              <a:ext uri="{FF2B5EF4-FFF2-40B4-BE49-F238E27FC236}">
                <a16:creationId xmlns:a16="http://schemas.microsoft.com/office/drawing/2014/main" id="{FE330B7F-8AF0-9043-AFD5-C4A70C02148F}"/>
              </a:ext>
            </a:extLst>
          </p:cNvPr>
          <p:cNvSpPr/>
          <p:nvPr/>
        </p:nvSpPr>
        <p:spPr>
          <a:xfrm>
            <a:off x="1928648" y="2897858"/>
            <a:ext cx="557049" cy="352834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sp>
        <p:nvSpPr>
          <p:cNvPr id="10" name="Right Arrow 9">
            <a:extLst>
              <a:ext uri="{FF2B5EF4-FFF2-40B4-BE49-F238E27FC236}">
                <a16:creationId xmlns:a16="http://schemas.microsoft.com/office/drawing/2014/main" id="{08BB3264-3510-8348-86B3-A2B756EA1F66}"/>
              </a:ext>
            </a:extLst>
          </p:cNvPr>
          <p:cNvSpPr/>
          <p:nvPr/>
        </p:nvSpPr>
        <p:spPr>
          <a:xfrm>
            <a:off x="5050219" y="2897858"/>
            <a:ext cx="557049" cy="352834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54C9C6D4-1E14-ED42-8EB1-F246389181BC}"/>
              </a:ext>
            </a:extLst>
          </p:cNvPr>
          <p:cNvSpPr/>
          <p:nvPr/>
        </p:nvSpPr>
        <p:spPr>
          <a:xfrm>
            <a:off x="5780689" y="3702638"/>
            <a:ext cx="1513491" cy="552531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/>
              <a:t>Правильный ответ</a:t>
            </a:r>
            <a:endParaRPr lang="en-RU" dirty="0"/>
          </a:p>
        </p:txBody>
      </p:sp>
      <p:sp>
        <p:nvSpPr>
          <p:cNvPr id="12" name="Right Arrow 11">
            <a:extLst>
              <a:ext uri="{FF2B5EF4-FFF2-40B4-BE49-F238E27FC236}">
                <a16:creationId xmlns:a16="http://schemas.microsoft.com/office/drawing/2014/main" id="{0E6FF1EB-EAB5-7047-8559-635682CC0646}"/>
              </a:ext>
            </a:extLst>
          </p:cNvPr>
          <p:cNvSpPr/>
          <p:nvPr/>
        </p:nvSpPr>
        <p:spPr>
          <a:xfrm>
            <a:off x="7467601" y="2895599"/>
            <a:ext cx="557049" cy="352834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sp>
        <p:nvSpPr>
          <p:cNvPr id="13" name="Right Arrow 12">
            <a:extLst>
              <a:ext uri="{FF2B5EF4-FFF2-40B4-BE49-F238E27FC236}">
                <a16:creationId xmlns:a16="http://schemas.microsoft.com/office/drawing/2014/main" id="{90536D69-84BB-0A43-8D00-E97A9E216378}"/>
              </a:ext>
            </a:extLst>
          </p:cNvPr>
          <p:cNvSpPr/>
          <p:nvPr/>
        </p:nvSpPr>
        <p:spPr>
          <a:xfrm>
            <a:off x="7467601" y="3802486"/>
            <a:ext cx="557049" cy="352834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AE86FA48-E22B-2347-9B37-BAC45A91C9FA}"/>
              </a:ext>
            </a:extLst>
          </p:cNvPr>
          <p:cNvSpPr/>
          <p:nvPr/>
        </p:nvSpPr>
        <p:spPr>
          <a:xfrm>
            <a:off x="8198071" y="2433144"/>
            <a:ext cx="1513491" cy="2154620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400" dirty="0"/>
              <a:t>Функция потерь</a:t>
            </a:r>
            <a:endParaRPr lang="en-RU" sz="2400" dirty="0"/>
          </a:p>
        </p:txBody>
      </p:sp>
    </p:spTree>
    <p:extLst>
      <p:ext uri="{BB962C8B-B14F-4D97-AF65-F5344CB8AC3E}">
        <p14:creationId xmlns:p14="http://schemas.microsoft.com/office/powerpoint/2010/main" val="41262104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5919252" y="8705816"/>
            <a:ext cx="300721" cy="338554"/>
          </a:xfrm>
        </p:spPr>
        <p:txBody>
          <a:bodyPr/>
          <a:lstStyle/>
          <a:p>
            <a:pPr marL="0" marR="0" lvl="0" indent="0" algn="r" defTabSz="91437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lang="uk-UA" sz="1600" b="0" i="0" u="none" strike="noStrike" kern="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r" defTabSz="914377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uk-UA" sz="16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Обучение алгоритма</a:t>
            </a:r>
            <a:endParaRPr lang="en-US" dirty="0"/>
          </a:p>
        </p:txBody>
      </p:sp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35FAF62D-E253-2345-9BB4-C02AAD14FA98}"/>
              </a:ext>
            </a:extLst>
          </p:cNvPr>
          <p:cNvSpPr/>
          <p:nvPr/>
        </p:nvSpPr>
        <p:spPr>
          <a:xfrm>
            <a:off x="2690648" y="1996965"/>
            <a:ext cx="2154620" cy="2154620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400" dirty="0"/>
              <a:t>Модель</a:t>
            </a:r>
          </a:p>
          <a:p>
            <a:pPr algn="ctr"/>
            <a:endParaRPr lang="ru-RU" sz="2400" dirty="0"/>
          </a:p>
          <a:p>
            <a:pPr algn="ctr"/>
            <a:endParaRPr lang="en-RU" sz="2400" dirty="0"/>
          </a:p>
        </p:txBody>
      </p:sp>
      <p:sp>
        <p:nvSpPr>
          <p:cNvPr id="16" name="Rounded Rectangle 15">
            <a:extLst>
              <a:ext uri="{FF2B5EF4-FFF2-40B4-BE49-F238E27FC236}">
                <a16:creationId xmlns:a16="http://schemas.microsoft.com/office/drawing/2014/main" id="{DDD81770-98CD-BA47-BF00-D4FA877CE1F3}"/>
              </a:ext>
            </a:extLst>
          </p:cNvPr>
          <p:cNvSpPr/>
          <p:nvPr/>
        </p:nvSpPr>
        <p:spPr>
          <a:xfrm>
            <a:off x="2942896" y="3295731"/>
            <a:ext cx="1650124" cy="683173"/>
          </a:xfrm>
          <a:prstGeom prst="round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/>
              <a:t>Параметры</a:t>
            </a:r>
            <a:endParaRPr lang="en-RU" dirty="0"/>
          </a:p>
        </p:txBody>
      </p:sp>
      <p:sp>
        <p:nvSpPr>
          <p:cNvPr id="17" name="Rounded Rectangle 16">
            <a:extLst>
              <a:ext uri="{FF2B5EF4-FFF2-40B4-BE49-F238E27FC236}">
                <a16:creationId xmlns:a16="http://schemas.microsoft.com/office/drawing/2014/main" id="{89CCB490-46F4-0A4F-82F4-12CEF20DBBF6}"/>
              </a:ext>
            </a:extLst>
          </p:cNvPr>
          <p:cNvSpPr/>
          <p:nvPr/>
        </p:nvSpPr>
        <p:spPr>
          <a:xfrm>
            <a:off x="388882" y="2798009"/>
            <a:ext cx="1366345" cy="552531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Объект</a:t>
            </a:r>
            <a:endParaRPr lang="en-RU" dirty="0"/>
          </a:p>
        </p:txBody>
      </p:sp>
      <p:sp>
        <p:nvSpPr>
          <p:cNvPr id="18" name="Rounded Rectangle 17">
            <a:extLst>
              <a:ext uri="{FF2B5EF4-FFF2-40B4-BE49-F238E27FC236}">
                <a16:creationId xmlns:a16="http://schemas.microsoft.com/office/drawing/2014/main" id="{136F1145-163E-294B-857C-98DC6B32A325}"/>
              </a:ext>
            </a:extLst>
          </p:cNvPr>
          <p:cNvSpPr/>
          <p:nvPr/>
        </p:nvSpPr>
        <p:spPr>
          <a:xfrm>
            <a:off x="5780689" y="2798009"/>
            <a:ext cx="1513491" cy="552531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Ответ модели</a:t>
            </a:r>
            <a:endParaRPr lang="en-RU" dirty="0"/>
          </a:p>
        </p:txBody>
      </p:sp>
      <p:sp>
        <p:nvSpPr>
          <p:cNvPr id="19" name="Right Arrow 18">
            <a:extLst>
              <a:ext uri="{FF2B5EF4-FFF2-40B4-BE49-F238E27FC236}">
                <a16:creationId xmlns:a16="http://schemas.microsoft.com/office/drawing/2014/main" id="{94991FF3-A5BC-C84E-B4E6-C2891790A353}"/>
              </a:ext>
            </a:extLst>
          </p:cNvPr>
          <p:cNvSpPr/>
          <p:nvPr/>
        </p:nvSpPr>
        <p:spPr>
          <a:xfrm>
            <a:off x="1928648" y="2897858"/>
            <a:ext cx="557049" cy="352834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sp>
        <p:nvSpPr>
          <p:cNvPr id="20" name="Right Arrow 19">
            <a:extLst>
              <a:ext uri="{FF2B5EF4-FFF2-40B4-BE49-F238E27FC236}">
                <a16:creationId xmlns:a16="http://schemas.microsoft.com/office/drawing/2014/main" id="{2183313E-8823-9A48-AA55-CD67E096AE54}"/>
              </a:ext>
            </a:extLst>
          </p:cNvPr>
          <p:cNvSpPr/>
          <p:nvPr/>
        </p:nvSpPr>
        <p:spPr>
          <a:xfrm>
            <a:off x="5050219" y="2897858"/>
            <a:ext cx="557049" cy="352834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7D8A7A91-BEBF-7F46-BD47-036D82FBBADF}"/>
              </a:ext>
            </a:extLst>
          </p:cNvPr>
          <p:cNvSpPr/>
          <p:nvPr/>
        </p:nvSpPr>
        <p:spPr>
          <a:xfrm>
            <a:off x="5780689" y="3702638"/>
            <a:ext cx="1513491" cy="552531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/>
              <a:t>Правильный ответ</a:t>
            </a:r>
            <a:endParaRPr lang="en-RU" dirty="0"/>
          </a:p>
        </p:txBody>
      </p:sp>
      <p:sp>
        <p:nvSpPr>
          <p:cNvPr id="22" name="Right Arrow 21">
            <a:extLst>
              <a:ext uri="{FF2B5EF4-FFF2-40B4-BE49-F238E27FC236}">
                <a16:creationId xmlns:a16="http://schemas.microsoft.com/office/drawing/2014/main" id="{0F5E1992-9D83-854E-B57A-630FA90661DD}"/>
              </a:ext>
            </a:extLst>
          </p:cNvPr>
          <p:cNvSpPr/>
          <p:nvPr/>
        </p:nvSpPr>
        <p:spPr>
          <a:xfrm>
            <a:off x="7467601" y="2895599"/>
            <a:ext cx="557049" cy="352834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sp>
        <p:nvSpPr>
          <p:cNvPr id="23" name="Right Arrow 22">
            <a:extLst>
              <a:ext uri="{FF2B5EF4-FFF2-40B4-BE49-F238E27FC236}">
                <a16:creationId xmlns:a16="http://schemas.microsoft.com/office/drawing/2014/main" id="{680C060D-84B4-1F45-91FD-2F65F4235990}"/>
              </a:ext>
            </a:extLst>
          </p:cNvPr>
          <p:cNvSpPr/>
          <p:nvPr/>
        </p:nvSpPr>
        <p:spPr>
          <a:xfrm>
            <a:off x="7467601" y="3802486"/>
            <a:ext cx="557049" cy="352834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sp>
        <p:nvSpPr>
          <p:cNvPr id="24" name="Rounded Rectangle 23">
            <a:extLst>
              <a:ext uri="{FF2B5EF4-FFF2-40B4-BE49-F238E27FC236}">
                <a16:creationId xmlns:a16="http://schemas.microsoft.com/office/drawing/2014/main" id="{A2FD0C1A-73D6-964B-A7E9-3941C09E2B2E}"/>
              </a:ext>
            </a:extLst>
          </p:cNvPr>
          <p:cNvSpPr/>
          <p:nvPr/>
        </p:nvSpPr>
        <p:spPr>
          <a:xfrm>
            <a:off x="8198071" y="2433144"/>
            <a:ext cx="1513491" cy="2154620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400" dirty="0"/>
              <a:t>Функция потерь</a:t>
            </a:r>
            <a:endParaRPr lang="en-RU" sz="2400" dirty="0"/>
          </a:p>
        </p:txBody>
      </p:sp>
      <p:sp>
        <p:nvSpPr>
          <p:cNvPr id="25" name="Right Arrow 24">
            <a:extLst>
              <a:ext uri="{FF2B5EF4-FFF2-40B4-BE49-F238E27FC236}">
                <a16:creationId xmlns:a16="http://schemas.microsoft.com/office/drawing/2014/main" id="{4E72BB4A-25F2-934F-B3BD-0B9FC12A973D}"/>
              </a:ext>
            </a:extLst>
          </p:cNvPr>
          <p:cNvSpPr/>
          <p:nvPr/>
        </p:nvSpPr>
        <p:spPr>
          <a:xfrm>
            <a:off x="9884983" y="3350540"/>
            <a:ext cx="557049" cy="352834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pic>
        <p:nvPicPr>
          <p:cNvPr id="26" name="Picture 2" descr="😢 Tear Emoji Meaning with Pictures: from A to Z">
            <a:extLst>
              <a:ext uri="{FF2B5EF4-FFF2-40B4-BE49-F238E27FC236}">
                <a16:creationId xmlns:a16="http://schemas.microsoft.com/office/drawing/2014/main" id="{8DDFC88E-1B75-1A45-9838-B8761F516D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25520" y="2695026"/>
            <a:ext cx="1456559" cy="14565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2111498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5919252" y="8705816"/>
            <a:ext cx="300721" cy="338554"/>
          </a:xfrm>
        </p:spPr>
        <p:txBody>
          <a:bodyPr/>
          <a:lstStyle/>
          <a:p>
            <a:pPr marL="0" marR="0" lvl="0" indent="0" algn="r" defTabSz="91437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lang="uk-UA" sz="1600" b="0" i="0" u="none" strike="noStrike" kern="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r" defTabSz="914377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uk-UA" sz="16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Обучение алгоритма</a:t>
            </a:r>
            <a:endParaRPr lang="en-US" dirty="0"/>
          </a:p>
        </p:txBody>
      </p:sp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35FAF62D-E253-2345-9BB4-C02AAD14FA98}"/>
              </a:ext>
            </a:extLst>
          </p:cNvPr>
          <p:cNvSpPr/>
          <p:nvPr/>
        </p:nvSpPr>
        <p:spPr>
          <a:xfrm>
            <a:off x="2690648" y="1996965"/>
            <a:ext cx="2154620" cy="2154620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400" dirty="0"/>
              <a:t>Модель</a:t>
            </a:r>
          </a:p>
          <a:p>
            <a:pPr algn="ctr"/>
            <a:endParaRPr lang="ru-RU" sz="2400" dirty="0"/>
          </a:p>
          <a:p>
            <a:pPr algn="ctr"/>
            <a:endParaRPr lang="en-RU" sz="2400" dirty="0"/>
          </a:p>
        </p:txBody>
      </p:sp>
      <p:sp>
        <p:nvSpPr>
          <p:cNvPr id="16" name="Rounded Rectangle 15">
            <a:extLst>
              <a:ext uri="{FF2B5EF4-FFF2-40B4-BE49-F238E27FC236}">
                <a16:creationId xmlns:a16="http://schemas.microsoft.com/office/drawing/2014/main" id="{DDD81770-98CD-BA47-BF00-D4FA877CE1F3}"/>
              </a:ext>
            </a:extLst>
          </p:cNvPr>
          <p:cNvSpPr/>
          <p:nvPr/>
        </p:nvSpPr>
        <p:spPr>
          <a:xfrm>
            <a:off x="2942896" y="3295731"/>
            <a:ext cx="1650124" cy="683173"/>
          </a:xfrm>
          <a:prstGeom prst="round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/>
              <a:t>Параметры</a:t>
            </a:r>
            <a:endParaRPr lang="en-RU" dirty="0"/>
          </a:p>
        </p:txBody>
      </p:sp>
      <p:sp>
        <p:nvSpPr>
          <p:cNvPr id="17" name="Rounded Rectangle 16">
            <a:extLst>
              <a:ext uri="{FF2B5EF4-FFF2-40B4-BE49-F238E27FC236}">
                <a16:creationId xmlns:a16="http://schemas.microsoft.com/office/drawing/2014/main" id="{89CCB490-46F4-0A4F-82F4-12CEF20DBBF6}"/>
              </a:ext>
            </a:extLst>
          </p:cNvPr>
          <p:cNvSpPr/>
          <p:nvPr/>
        </p:nvSpPr>
        <p:spPr>
          <a:xfrm>
            <a:off x="388882" y="2798009"/>
            <a:ext cx="1366345" cy="552531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Объект</a:t>
            </a:r>
            <a:endParaRPr lang="en-RU" dirty="0"/>
          </a:p>
        </p:txBody>
      </p:sp>
      <p:sp>
        <p:nvSpPr>
          <p:cNvPr id="18" name="Rounded Rectangle 17">
            <a:extLst>
              <a:ext uri="{FF2B5EF4-FFF2-40B4-BE49-F238E27FC236}">
                <a16:creationId xmlns:a16="http://schemas.microsoft.com/office/drawing/2014/main" id="{136F1145-163E-294B-857C-98DC6B32A325}"/>
              </a:ext>
            </a:extLst>
          </p:cNvPr>
          <p:cNvSpPr/>
          <p:nvPr/>
        </p:nvSpPr>
        <p:spPr>
          <a:xfrm>
            <a:off x="5780689" y="2798009"/>
            <a:ext cx="1513491" cy="552531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Ответ модели</a:t>
            </a:r>
            <a:endParaRPr lang="en-RU" dirty="0"/>
          </a:p>
        </p:txBody>
      </p:sp>
      <p:sp>
        <p:nvSpPr>
          <p:cNvPr id="19" name="Right Arrow 18">
            <a:extLst>
              <a:ext uri="{FF2B5EF4-FFF2-40B4-BE49-F238E27FC236}">
                <a16:creationId xmlns:a16="http://schemas.microsoft.com/office/drawing/2014/main" id="{94991FF3-A5BC-C84E-B4E6-C2891790A353}"/>
              </a:ext>
            </a:extLst>
          </p:cNvPr>
          <p:cNvSpPr/>
          <p:nvPr/>
        </p:nvSpPr>
        <p:spPr>
          <a:xfrm>
            <a:off x="1928648" y="2897858"/>
            <a:ext cx="557049" cy="352834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sp>
        <p:nvSpPr>
          <p:cNvPr id="20" name="Right Arrow 19">
            <a:extLst>
              <a:ext uri="{FF2B5EF4-FFF2-40B4-BE49-F238E27FC236}">
                <a16:creationId xmlns:a16="http://schemas.microsoft.com/office/drawing/2014/main" id="{2183313E-8823-9A48-AA55-CD67E096AE54}"/>
              </a:ext>
            </a:extLst>
          </p:cNvPr>
          <p:cNvSpPr/>
          <p:nvPr/>
        </p:nvSpPr>
        <p:spPr>
          <a:xfrm>
            <a:off x="5050219" y="2897858"/>
            <a:ext cx="557049" cy="352834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7D8A7A91-BEBF-7F46-BD47-036D82FBBADF}"/>
              </a:ext>
            </a:extLst>
          </p:cNvPr>
          <p:cNvSpPr/>
          <p:nvPr/>
        </p:nvSpPr>
        <p:spPr>
          <a:xfrm>
            <a:off x="5780689" y="3702638"/>
            <a:ext cx="1513491" cy="552531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/>
              <a:t>Правильный ответ</a:t>
            </a:r>
            <a:endParaRPr lang="en-RU" dirty="0"/>
          </a:p>
        </p:txBody>
      </p:sp>
      <p:sp>
        <p:nvSpPr>
          <p:cNvPr id="22" name="Right Arrow 21">
            <a:extLst>
              <a:ext uri="{FF2B5EF4-FFF2-40B4-BE49-F238E27FC236}">
                <a16:creationId xmlns:a16="http://schemas.microsoft.com/office/drawing/2014/main" id="{0F5E1992-9D83-854E-B57A-630FA90661DD}"/>
              </a:ext>
            </a:extLst>
          </p:cNvPr>
          <p:cNvSpPr/>
          <p:nvPr/>
        </p:nvSpPr>
        <p:spPr>
          <a:xfrm>
            <a:off x="7467601" y="2895599"/>
            <a:ext cx="557049" cy="352834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sp>
        <p:nvSpPr>
          <p:cNvPr id="23" name="Right Arrow 22">
            <a:extLst>
              <a:ext uri="{FF2B5EF4-FFF2-40B4-BE49-F238E27FC236}">
                <a16:creationId xmlns:a16="http://schemas.microsoft.com/office/drawing/2014/main" id="{680C060D-84B4-1F45-91FD-2F65F4235990}"/>
              </a:ext>
            </a:extLst>
          </p:cNvPr>
          <p:cNvSpPr/>
          <p:nvPr/>
        </p:nvSpPr>
        <p:spPr>
          <a:xfrm>
            <a:off x="7467601" y="3802486"/>
            <a:ext cx="557049" cy="352834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sp>
        <p:nvSpPr>
          <p:cNvPr id="24" name="Rounded Rectangle 23">
            <a:extLst>
              <a:ext uri="{FF2B5EF4-FFF2-40B4-BE49-F238E27FC236}">
                <a16:creationId xmlns:a16="http://schemas.microsoft.com/office/drawing/2014/main" id="{A2FD0C1A-73D6-964B-A7E9-3941C09E2B2E}"/>
              </a:ext>
            </a:extLst>
          </p:cNvPr>
          <p:cNvSpPr/>
          <p:nvPr/>
        </p:nvSpPr>
        <p:spPr>
          <a:xfrm>
            <a:off x="8198071" y="2433144"/>
            <a:ext cx="1513491" cy="2154620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400" dirty="0"/>
              <a:t>Функция потерь</a:t>
            </a:r>
            <a:endParaRPr lang="en-RU" sz="2400" dirty="0"/>
          </a:p>
        </p:txBody>
      </p:sp>
      <p:sp>
        <p:nvSpPr>
          <p:cNvPr id="25" name="Right Arrow 24">
            <a:extLst>
              <a:ext uri="{FF2B5EF4-FFF2-40B4-BE49-F238E27FC236}">
                <a16:creationId xmlns:a16="http://schemas.microsoft.com/office/drawing/2014/main" id="{4E72BB4A-25F2-934F-B3BD-0B9FC12A973D}"/>
              </a:ext>
            </a:extLst>
          </p:cNvPr>
          <p:cNvSpPr/>
          <p:nvPr/>
        </p:nvSpPr>
        <p:spPr>
          <a:xfrm>
            <a:off x="9884983" y="3350540"/>
            <a:ext cx="557049" cy="352834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pic>
        <p:nvPicPr>
          <p:cNvPr id="26" name="Picture 2" descr="😢 Tear Emoji Meaning with Pictures: from A to Z">
            <a:extLst>
              <a:ext uri="{FF2B5EF4-FFF2-40B4-BE49-F238E27FC236}">
                <a16:creationId xmlns:a16="http://schemas.microsoft.com/office/drawing/2014/main" id="{8DDFC88E-1B75-1A45-9838-B8761F516D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25520" y="2695026"/>
            <a:ext cx="1456559" cy="14565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CF2D6B95-154C-2E40-A2A3-8CD0A2303648}"/>
              </a:ext>
            </a:extLst>
          </p:cNvPr>
          <p:cNvCxnSpPr/>
          <p:nvPr/>
        </p:nvCxnSpPr>
        <p:spPr>
          <a:xfrm flipH="1">
            <a:off x="11353799" y="4151585"/>
            <a:ext cx="1" cy="1124608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C1052D6B-B383-9E4E-9035-84932ADC5B84}"/>
              </a:ext>
            </a:extLst>
          </p:cNvPr>
          <p:cNvCxnSpPr>
            <a:cxnSpLocks/>
          </p:cNvCxnSpPr>
          <p:nvPr/>
        </p:nvCxnSpPr>
        <p:spPr>
          <a:xfrm>
            <a:off x="3791388" y="5276193"/>
            <a:ext cx="7562411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D07EDB23-E4B0-F94C-BF37-01A95E22B820}"/>
              </a:ext>
            </a:extLst>
          </p:cNvPr>
          <p:cNvCxnSpPr>
            <a:cxnSpLocks/>
          </p:cNvCxnSpPr>
          <p:nvPr/>
        </p:nvCxnSpPr>
        <p:spPr>
          <a:xfrm flipH="1" flipV="1">
            <a:off x="3767958" y="4151585"/>
            <a:ext cx="23430" cy="1124608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4C4308DF-58C6-AF4F-A9F1-2D774BD96BD4}"/>
              </a:ext>
            </a:extLst>
          </p:cNvPr>
          <p:cNvSpPr txBox="1"/>
          <p:nvPr/>
        </p:nvSpPr>
        <p:spPr>
          <a:xfrm>
            <a:off x="6433933" y="5339305"/>
            <a:ext cx="25208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подкрутить параметры!</a:t>
            </a:r>
            <a:endParaRPr lang="en-RU" dirty="0"/>
          </a:p>
        </p:txBody>
      </p:sp>
    </p:spTree>
    <p:extLst>
      <p:ext uri="{BB962C8B-B14F-4D97-AF65-F5344CB8AC3E}">
        <p14:creationId xmlns:p14="http://schemas.microsoft.com/office/powerpoint/2010/main" val="429201805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5919252" y="8705816"/>
            <a:ext cx="300721" cy="338554"/>
          </a:xfrm>
        </p:spPr>
        <p:txBody>
          <a:bodyPr/>
          <a:lstStyle/>
          <a:p>
            <a:pPr marL="0" marR="0" lvl="0" indent="0" algn="r" defTabSz="91437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lang="uk-UA" sz="1600" b="0" i="0" u="none" strike="noStrike" kern="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r" defTabSz="914377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uk-UA" sz="16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Обучение алгоритма</a:t>
            </a:r>
            <a:endParaRPr lang="en-US" dirty="0"/>
          </a:p>
        </p:txBody>
      </p:sp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CF26E77E-E2CB-E743-AF3A-896426CFD4A0}"/>
              </a:ext>
            </a:extLst>
          </p:cNvPr>
          <p:cNvSpPr/>
          <p:nvPr/>
        </p:nvSpPr>
        <p:spPr>
          <a:xfrm>
            <a:off x="2690648" y="1996965"/>
            <a:ext cx="2154620" cy="2154620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400" dirty="0"/>
              <a:t>Модель</a:t>
            </a:r>
          </a:p>
          <a:p>
            <a:pPr algn="ctr"/>
            <a:endParaRPr lang="ru-RU" sz="2400" dirty="0"/>
          </a:p>
          <a:p>
            <a:pPr algn="ctr"/>
            <a:endParaRPr lang="en-RU" sz="2400" dirty="0"/>
          </a:p>
        </p:txBody>
      </p:sp>
      <p:sp>
        <p:nvSpPr>
          <p:cNvPr id="32" name="Rounded Rectangle 31">
            <a:extLst>
              <a:ext uri="{FF2B5EF4-FFF2-40B4-BE49-F238E27FC236}">
                <a16:creationId xmlns:a16="http://schemas.microsoft.com/office/drawing/2014/main" id="{21ECA52B-55E4-4248-A2A5-6D77EDB9F735}"/>
              </a:ext>
            </a:extLst>
          </p:cNvPr>
          <p:cNvSpPr/>
          <p:nvPr/>
        </p:nvSpPr>
        <p:spPr>
          <a:xfrm>
            <a:off x="2942896" y="3295731"/>
            <a:ext cx="1650124" cy="683173"/>
          </a:xfrm>
          <a:prstGeom prst="round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/>
              <a:t>Параметры</a:t>
            </a:r>
            <a:endParaRPr lang="en-RU" dirty="0"/>
          </a:p>
        </p:txBody>
      </p:sp>
      <p:sp>
        <p:nvSpPr>
          <p:cNvPr id="33" name="Rounded Rectangle 32">
            <a:extLst>
              <a:ext uri="{FF2B5EF4-FFF2-40B4-BE49-F238E27FC236}">
                <a16:creationId xmlns:a16="http://schemas.microsoft.com/office/drawing/2014/main" id="{EFA7FAE6-DCAB-1E46-A027-FE9FE3B80C61}"/>
              </a:ext>
            </a:extLst>
          </p:cNvPr>
          <p:cNvSpPr/>
          <p:nvPr/>
        </p:nvSpPr>
        <p:spPr>
          <a:xfrm>
            <a:off x="388882" y="2798009"/>
            <a:ext cx="1366345" cy="552531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Объект</a:t>
            </a:r>
            <a:endParaRPr lang="en-RU" dirty="0"/>
          </a:p>
        </p:txBody>
      </p:sp>
      <p:sp>
        <p:nvSpPr>
          <p:cNvPr id="34" name="Rounded Rectangle 33">
            <a:extLst>
              <a:ext uri="{FF2B5EF4-FFF2-40B4-BE49-F238E27FC236}">
                <a16:creationId xmlns:a16="http://schemas.microsoft.com/office/drawing/2014/main" id="{B850277F-A5A1-0448-81A9-132BE2F00978}"/>
              </a:ext>
            </a:extLst>
          </p:cNvPr>
          <p:cNvSpPr/>
          <p:nvPr/>
        </p:nvSpPr>
        <p:spPr>
          <a:xfrm>
            <a:off x="5780689" y="2798009"/>
            <a:ext cx="1513491" cy="552531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Ответ модели</a:t>
            </a:r>
            <a:endParaRPr lang="en-RU" dirty="0"/>
          </a:p>
        </p:txBody>
      </p:sp>
      <p:sp>
        <p:nvSpPr>
          <p:cNvPr id="35" name="Right Arrow 34">
            <a:extLst>
              <a:ext uri="{FF2B5EF4-FFF2-40B4-BE49-F238E27FC236}">
                <a16:creationId xmlns:a16="http://schemas.microsoft.com/office/drawing/2014/main" id="{AA18AECB-FA29-9343-8DA0-CF31D5C2A289}"/>
              </a:ext>
            </a:extLst>
          </p:cNvPr>
          <p:cNvSpPr/>
          <p:nvPr/>
        </p:nvSpPr>
        <p:spPr>
          <a:xfrm>
            <a:off x="1928648" y="2897858"/>
            <a:ext cx="557049" cy="352834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sp>
        <p:nvSpPr>
          <p:cNvPr id="36" name="Right Arrow 35">
            <a:extLst>
              <a:ext uri="{FF2B5EF4-FFF2-40B4-BE49-F238E27FC236}">
                <a16:creationId xmlns:a16="http://schemas.microsoft.com/office/drawing/2014/main" id="{D1A09F06-FC3F-144D-85AB-708E7AECC935}"/>
              </a:ext>
            </a:extLst>
          </p:cNvPr>
          <p:cNvSpPr/>
          <p:nvPr/>
        </p:nvSpPr>
        <p:spPr>
          <a:xfrm>
            <a:off x="5050219" y="2897858"/>
            <a:ext cx="557049" cy="352834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sp>
        <p:nvSpPr>
          <p:cNvPr id="37" name="Rounded Rectangle 36">
            <a:extLst>
              <a:ext uri="{FF2B5EF4-FFF2-40B4-BE49-F238E27FC236}">
                <a16:creationId xmlns:a16="http://schemas.microsoft.com/office/drawing/2014/main" id="{D64B934C-A187-4F4F-BA17-46C82F3F2ACC}"/>
              </a:ext>
            </a:extLst>
          </p:cNvPr>
          <p:cNvSpPr/>
          <p:nvPr/>
        </p:nvSpPr>
        <p:spPr>
          <a:xfrm>
            <a:off x="5780689" y="3702638"/>
            <a:ext cx="1513491" cy="552531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/>
              <a:t>Правильный ответ</a:t>
            </a:r>
            <a:endParaRPr lang="en-RU" dirty="0"/>
          </a:p>
        </p:txBody>
      </p:sp>
      <p:sp>
        <p:nvSpPr>
          <p:cNvPr id="38" name="Right Arrow 37">
            <a:extLst>
              <a:ext uri="{FF2B5EF4-FFF2-40B4-BE49-F238E27FC236}">
                <a16:creationId xmlns:a16="http://schemas.microsoft.com/office/drawing/2014/main" id="{FDAEAAEE-3DBF-EB4D-B750-17A20576B5EB}"/>
              </a:ext>
            </a:extLst>
          </p:cNvPr>
          <p:cNvSpPr/>
          <p:nvPr/>
        </p:nvSpPr>
        <p:spPr>
          <a:xfrm>
            <a:off x="7467601" y="2895599"/>
            <a:ext cx="557049" cy="352834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sp>
        <p:nvSpPr>
          <p:cNvPr id="39" name="Right Arrow 38">
            <a:extLst>
              <a:ext uri="{FF2B5EF4-FFF2-40B4-BE49-F238E27FC236}">
                <a16:creationId xmlns:a16="http://schemas.microsoft.com/office/drawing/2014/main" id="{71B8D7DC-D1C9-EA4F-92B1-D2DC14228F4E}"/>
              </a:ext>
            </a:extLst>
          </p:cNvPr>
          <p:cNvSpPr/>
          <p:nvPr/>
        </p:nvSpPr>
        <p:spPr>
          <a:xfrm>
            <a:off x="7467601" y="3802486"/>
            <a:ext cx="557049" cy="352834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sp>
        <p:nvSpPr>
          <p:cNvPr id="40" name="Rounded Rectangle 39">
            <a:extLst>
              <a:ext uri="{FF2B5EF4-FFF2-40B4-BE49-F238E27FC236}">
                <a16:creationId xmlns:a16="http://schemas.microsoft.com/office/drawing/2014/main" id="{5AE6FDF8-F467-8046-98C2-D25238CE0E41}"/>
              </a:ext>
            </a:extLst>
          </p:cNvPr>
          <p:cNvSpPr/>
          <p:nvPr/>
        </p:nvSpPr>
        <p:spPr>
          <a:xfrm>
            <a:off x="8198071" y="2433144"/>
            <a:ext cx="1513491" cy="2154620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400" dirty="0"/>
              <a:t>Функция потерь</a:t>
            </a:r>
            <a:endParaRPr lang="en-RU" sz="2400" dirty="0"/>
          </a:p>
        </p:txBody>
      </p:sp>
      <p:sp>
        <p:nvSpPr>
          <p:cNvPr id="41" name="Right Arrow 40">
            <a:extLst>
              <a:ext uri="{FF2B5EF4-FFF2-40B4-BE49-F238E27FC236}">
                <a16:creationId xmlns:a16="http://schemas.microsoft.com/office/drawing/2014/main" id="{E65EB039-2817-6845-BD75-41FCE9D3F90D}"/>
              </a:ext>
            </a:extLst>
          </p:cNvPr>
          <p:cNvSpPr/>
          <p:nvPr/>
        </p:nvSpPr>
        <p:spPr>
          <a:xfrm>
            <a:off x="9884983" y="3350540"/>
            <a:ext cx="557049" cy="352834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DF8BEB75-F8EC-E146-94E4-0E8710EF037B}"/>
              </a:ext>
            </a:extLst>
          </p:cNvPr>
          <p:cNvCxnSpPr/>
          <p:nvPr/>
        </p:nvCxnSpPr>
        <p:spPr>
          <a:xfrm flipH="1">
            <a:off x="11353799" y="4151585"/>
            <a:ext cx="1" cy="1124608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4C1894F3-19E2-8E4F-AD78-6C56731CC5E4}"/>
              </a:ext>
            </a:extLst>
          </p:cNvPr>
          <p:cNvCxnSpPr>
            <a:cxnSpLocks/>
          </p:cNvCxnSpPr>
          <p:nvPr/>
        </p:nvCxnSpPr>
        <p:spPr>
          <a:xfrm>
            <a:off x="3791388" y="5276193"/>
            <a:ext cx="7562411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633847CB-8426-EC4F-842D-C44250751151}"/>
              </a:ext>
            </a:extLst>
          </p:cNvPr>
          <p:cNvCxnSpPr>
            <a:cxnSpLocks/>
            <a:endCxn id="31" idx="2"/>
          </p:cNvCxnSpPr>
          <p:nvPr/>
        </p:nvCxnSpPr>
        <p:spPr>
          <a:xfrm flipH="1" flipV="1">
            <a:off x="3767958" y="4151585"/>
            <a:ext cx="23430" cy="1124608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58DF94CF-D546-7342-B698-B99A39BEE6A8}"/>
              </a:ext>
            </a:extLst>
          </p:cNvPr>
          <p:cNvSpPr txBox="1"/>
          <p:nvPr/>
        </p:nvSpPr>
        <p:spPr>
          <a:xfrm>
            <a:off x="6433933" y="5339305"/>
            <a:ext cx="142077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и так сойдёт</a:t>
            </a:r>
            <a:endParaRPr lang="en-RU" dirty="0"/>
          </a:p>
        </p:txBody>
      </p:sp>
      <p:pic>
        <p:nvPicPr>
          <p:cNvPr id="46" name="Picture 8" descr="😄 Download Grinning Face With Smiling Eyes Emoji by JoyPixels™">
            <a:extLst>
              <a:ext uri="{FF2B5EF4-FFF2-40B4-BE49-F238E27FC236}">
                <a16:creationId xmlns:a16="http://schemas.microsoft.com/office/drawing/2014/main" id="{F830C57A-A612-DA40-BC81-0AE76C7836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29708" y="2859349"/>
            <a:ext cx="1248182" cy="12481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8401192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5919252" y="8705816"/>
            <a:ext cx="300721" cy="338554"/>
          </a:xfrm>
        </p:spPr>
        <p:txBody>
          <a:bodyPr/>
          <a:lstStyle/>
          <a:p>
            <a:pPr marL="0" marR="0" lvl="0" indent="0" algn="r" defTabSz="91437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lang="uk-UA" sz="1600" b="0" i="0" u="none" strike="noStrike" kern="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r" defTabSz="914377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uk-UA" sz="16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Обучение алгоритма</a:t>
            </a:r>
            <a:endParaRPr lang="en-US" dirty="0"/>
          </a:p>
        </p:txBody>
      </p:sp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CF26E77E-E2CB-E743-AF3A-896426CFD4A0}"/>
              </a:ext>
            </a:extLst>
          </p:cNvPr>
          <p:cNvSpPr/>
          <p:nvPr/>
        </p:nvSpPr>
        <p:spPr>
          <a:xfrm>
            <a:off x="2690648" y="1996965"/>
            <a:ext cx="2154620" cy="2154620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400" dirty="0"/>
              <a:t>Модель</a:t>
            </a:r>
          </a:p>
          <a:p>
            <a:pPr algn="ctr"/>
            <a:endParaRPr lang="ru-RU" sz="2400" dirty="0"/>
          </a:p>
          <a:p>
            <a:pPr algn="ctr"/>
            <a:endParaRPr lang="en-RU" sz="2400" dirty="0"/>
          </a:p>
        </p:txBody>
      </p:sp>
      <p:sp>
        <p:nvSpPr>
          <p:cNvPr id="32" name="Rounded Rectangle 31">
            <a:extLst>
              <a:ext uri="{FF2B5EF4-FFF2-40B4-BE49-F238E27FC236}">
                <a16:creationId xmlns:a16="http://schemas.microsoft.com/office/drawing/2014/main" id="{21ECA52B-55E4-4248-A2A5-6D77EDB9F735}"/>
              </a:ext>
            </a:extLst>
          </p:cNvPr>
          <p:cNvSpPr/>
          <p:nvPr/>
        </p:nvSpPr>
        <p:spPr>
          <a:xfrm>
            <a:off x="2942896" y="3295731"/>
            <a:ext cx="1650124" cy="683173"/>
          </a:xfrm>
          <a:prstGeom prst="round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/>
              <a:t>Параметры</a:t>
            </a:r>
            <a:endParaRPr lang="en-RU" dirty="0"/>
          </a:p>
        </p:txBody>
      </p:sp>
      <p:sp>
        <p:nvSpPr>
          <p:cNvPr id="33" name="Rounded Rectangle 32">
            <a:extLst>
              <a:ext uri="{FF2B5EF4-FFF2-40B4-BE49-F238E27FC236}">
                <a16:creationId xmlns:a16="http://schemas.microsoft.com/office/drawing/2014/main" id="{EFA7FAE6-DCAB-1E46-A027-FE9FE3B80C61}"/>
              </a:ext>
            </a:extLst>
          </p:cNvPr>
          <p:cNvSpPr/>
          <p:nvPr/>
        </p:nvSpPr>
        <p:spPr>
          <a:xfrm>
            <a:off x="388882" y="2798009"/>
            <a:ext cx="1366345" cy="552531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Объект</a:t>
            </a:r>
            <a:endParaRPr lang="en-RU" dirty="0"/>
          </a:p>
        </p:txBody>
      </p:sp>
      <p:sp>
        <p:nvSpPr>
          <p:cNvPr id="34" name="Rounded Rectangle 33">
            <a:extLst>
              <a:ext uri="{FF2B5EF4-FFF2-40B4-BE49-F238E27FC236}">
                <a16:creationId xmlns:a16="http://schemas.microsoft.com/office/drawing/2014/main" id="{B850277F-A5A1-0448-81A9-132BE2F00978}"/>
              </a:ext>
            </a:extLst>
          </p:cNvPr>
          <p:cNvSpPr/>
          <p:nvPr/>
        </p:nvSpPr>
        <p:spPr>
          <a:xfrm>
            <a:off x="5780689" y="2798009"/>
            <a:ext cx="1513491" cy="552531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Ответ модели</a:t>
            </a:r>
            <a:endParaRPr lang="en-RU" dirty="0"/>
          </a:p>
        </p:txBody>
      </p:sp>
      <p:sp>
        <p:nvSpPr>
          <p:cNvPr id="35" name="Right Arrow 34">
            <a:extLst>
              <a:ext uri="{FF2B5EF4-FFF2-40B4-BE49-F238E27FC236}">
                <a16:creationId xmlns:a16="http://schemas.microsoft.com/office/drawing/2014/main" id="{AA18AECB-FA29-9343-8DA0-CF31D5C2A289}"/>
              </a:ext>
            </a:extLst>
          </p:cNvPr>
          <p:cNvSpPr/>
          <p:nvPr/>
        </p:nvSpPr>
        <p:spPr>
          <a:xfrm>
            <a:off x="1928648" y="2897858"/>
            <a:ext cx="557049" cy="352834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sp>
        <p:nvSpPr>
          <p:cNvPr id="36" name="Right Arrow 35">
            <a:extLst>
              <a:ext uri="{FF2B5EF4-FFF2-40B4-BE49-F238E27FC236}">
                <a16:creationId xmlns:a16="http://schemas.microsoft.com/office/drawing/2014/main" id="{D1A09F06-FC3F-144D-85AB-708E7AECC935}"/>
              </a:ext>
            </a:extLst>
          </p:cNvPr>
          <p:cNvSpPr/>
          <p:nvPr/>
        </p:nvSpPr>
        <p:spPr>
          <a:xfrm>
            <a:off x="5050219" y="2897858"/>
            <a:ext cx="557049" cy="352834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sp>
        <p:nvSpPr>
          <p:cNvPr id="37" name="Rounded Rectangle 36">
            <a:extLst>
              <a:ext uri="{FF2B5EF4-FFF2-40B4-BE49-F238E27FC236}">
                <a16:creationId xmlns:a16="http://schemas.microsoft.com/office/drawing/2014/main" id="{D64B934C-A187-4F4F-BA17-46C82F3F2ACC}"/>
              </a:ext>
            </a:extLst>
          </p:cNvPr>
          <p:cNvSpPr/>
          <p:nvPr/>
        </p:nvSpPr>
        <p:spPr>
          <a:xfrm>
            <a:off x="5780689" y="3702638"/>
            <a:ext cx="1513491" cy="552531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/>
              <a:t>Правильный ответ</a:t>
            </a:r>
            <a:endParaRPr lang="en-RU" dirty="0"/>
          </a:p>
        </p:txBody>
      </p:sp>
      <p:sp>
        <p:nvSpPr>
          <p:cNvPr id="38" name="Right Arrow 37">
            <a:extLst>
              <a:ext uri="{FF2B5EF4-FFF2-40B4-BE49-F238E27FC236}">
                <a16:creationId xmlns:a16="http://schemas.microsoft.com/office/drawing/2014/main" id="{FDAEAAEE-3DBF-EB4D-B750-17A20576B5EB}"/>
              </a:ext>
            </a:extLst>
          </p:cNvPr>
          <p:cNvSpPr/>
          <p:nvPr/>
        </p:nvSpPr>
        <p:spPr>
          <a:xfrm>
            <a:off x="7467601" y="2895599"/>
            <a:ext cx="557049" cy="352834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sp>
        <p:nvSpPr>
          <p:cNvPr id="39" name="Right Arrow 38">
            <a:extLst>
              <a:ext uri="{FF2B5EF4-FFF2-40B4-BE49-F238E27FC236}">
                <a16:creationId xmlns:a16="http://schemas.microsoft.com/office/drawing/2014/main" id="{71B8D7DC-D1C9-EA4F-92B1-D2DC14228F4E}"/>
              </a:ext>
            </a:extLst>
          </p:cNvPr>
          <p:cNvSpPr/>
          <p:nvPr/>
        </p:nvSpPr>
        <p:spPr>
          <a:xfrm>
            <a:off x="7467601" y="3802486"/>
            <a:ext cx="557049" cy="352834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sp>
        <p:nvSpPr>
          <p:cNvPr id="40" name="Rounded Rectangle 39">
            <a:extLst>
              <a:ext uri="{FF2B5EF4-FFF2-40B4-BE49-F238E27FC236}">
                <a16:creationId xmlns:a16="http://schemas.microsoft.com/office/drawing/2014/main" id="{5AE6FDF8-F467-8046-98C2-D25238CE0E41}"/>
              </a:ext>
            </a:extLst>
          </p:cNvPr>
          <p:cNvSpPr/>
          <p:nvPr/>
        </p:nvSpPr>
        <p:spPr>
          <a:xfrm>
            <a:off x="8198071" y="2433144"/>
            <a:ext cx="1513491" cy="2154620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400" dirty="0"/>
              <a:t>Функция потерь</a:t>
            </a:r>
            <a:endParaRPr lang="en-RU" sz="2400" dirty="0"/>
          </a:p>
        </p:txBody>
      </p:sp>
      <p:sp>
        <p:nvSpPr>
          <p:cNvPr id="41" name="Right Arrow 40">
            <a:extLst>
              <a:ext uri="{FF2B5EF4-FFF2-40B4-BE49-F238E27FC236}">
                <a16:creationId xmlns:a16="http://schemas.microsoft.com/office/drawing/2014/main" id="{E65EB039-2817-6845-BD75-41FCE9D3F90D}"/>
              </a:ext>
            </a:extLst>
          </p:cNvPr>
          <p:cNvSpPr/>
          <p:nvPr/>
        </p:nvSpPr>
        <p:spPr>
          <a:xfrm>
            <a:off x="9884983" y="3350540"/>
            <a:ext cx="557049" cy="352834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DF8BEB75-F8EC-E146-94E4-0E8710EF037B}"/>
              </a:ext>
            </a:extLst>
          </p:cNvPr>
          <p:cNvCxnSpPr/>
          <p:nvPr/>
        </p:nvCxnSpPr>
        <p:spPr>
          <a:xfrm flipH="1">
            <a:off x="11353799" y="4151585"/>
            <a:ext cx="1" cy="1124608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4C1894F3-19E2-8E4F-AD78-6C56731CC5E4}"/>
              </a:ext>
            </a:extLst>
          </p:cNvPr>
          <p:cNvCxnSpPr>
            <a:cxnSpLocks/>
          </p:cNvCxnSpPr>
          <p:nvPr/>
        </p:nvCxnSpPr>
        <p:spPr>
          <a:xfrm>
            <a:off x="3791388" y="5276193"/>
            <a:ext cx="7562411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633847CB-8426-EC4F-842D-C44250751151}"/>
              </a:ext>
            </a:extLst>
          </p:cNvPr>
          <p:cNvCxnSpPr>
            <a:cxnSpLocks/>
            <a:endCxn id="31" idx="2"/>
          </p:cNvCxnSpPr>
          <p:nvPr/>
        </p:nvCxnSpPr>
        <p:spPr>
          <a:xfrm flipH="1" flipV="1">
            <a:off x="3767958" y="4151585"/>
            <a:ext cx="23430" cy="1124608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6" name="Picture 8" descr="😄 Download Grinning Face With Smiling Eyes Emoji by JoyPixels™">
            <a:extLst>
              <a:ext uri="{FF2B5EF4-FFF2-40B4-BE49-F238E27FC236}">
                <a16:creationId xmlns:a16="http://schemas.microsoft.com/office/drawing/2014/main" id="{F830C57A-A612-DA40-BC81-0AE76C7836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29708" y="2859349"/>
            <a:ext cx="1248182" cy="12481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002FF930-1F8D-FE44-97E0-0DF547EBF743}"/>
              </a:ext>
            </a:extLst>
          </p:cNvPr>
          <p:cNvSpPr txBox="1"/>
          <p:nvPr/>
        </p:nvSpPr>
        <p:spPr>
          <a:xfrm>
            <a:off x="3415643" y="5661739"/>
            <a:ext cx="536071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dirty="0"/>
              <a:t>По очереди проделываем для всей выборки, пока ошибка уменьшается</a:t>
            </a:r>
            <a:endParaRPr lang="en-RU" sz="2400" dirty="0"/>
          </a:p>
        </p:txBody>
      </p:sp>
    </p:spTree>
    <p:extLst>
      <p:ext uri="{BB962C8B-B14F-4D97-AF65-F5344CB8AC3E}">
        <p14:creationId xmlns:p14="http://schemas.microsoft.com/office/powerpoint/2010/main" val="180546587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A2029BC-1B16-F343-8C49-93186DAA2F91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519825" y="2485747"/>
            <a:ext cx="7493000" cy="1934633"/>
          </a:xfrm>
        </p:spPr>
        <p:txBody>
          <a:bodyPr anchor="ctr">
            <a:normAutofit/>
          </a:bodyPr>
          <a:lstStyle/>
          <a:p>
            <a:r>
              <a:rPr lang="ru-RU" sz="6133" dirty="0"/>
              <a:t>Регрессия</a:t>
            </a:r>
            <a:endParaRPr lang="en-AU" sz="6133" dirty="0"/>
          </a:p>
        </p:txBody>
      </p:sp>
    </p:spTree>
    <p:extLst>
      <p:ext uri="{BB962C8B-B14F-4D97-AF65-F5344CB8AC3E}">
        <p14:creationId xmlns:p14="http://schemas.microsoft.com/office/powerpoint/2010/main" val="241798730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5" name="Picture 1" descr="/Users/zian/Library/Group Containers/UBF8T346G9.Office/msoclip1/01/6AAAA39C-7D75-814C-8511-7EC05142413B.png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736181" y="1949450"/>
            <a:ext cx="4686300" cy="3708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377" hangingPunct="0"/>
            <a:fld id="{7DB1B327-4D8B-4363-B1F2-9ED0E4F4AAE4}" type="slidenum">
              <a:rPr lang="ru-RU" sz="1733" kern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pPr defTabSz="914377" hangingPunct="0"/>
              <a:t>28</a:t>
            </a:fld>
            <a:endParaRPr lang="ru-RU" sz="1733" kern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Линейная модель для регрессии</a:t>
            </a:r>
            <a:endParaRPr lang="en-US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/>
        </p:nvGraphicFramePr>
        <p:xfrm>
          <a:off x="743823" y="2374900"/>
          <a:ext cx="1538932" cy="304800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77250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664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609600"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x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y</a:t>
                      </a:r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09600"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1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2</a:t>
                      </a:r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09600"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3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5</a:t>
                      </a:r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09600"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-1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-2</a:t>
                      </a:r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09600"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5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?</a:t>
                      </a:r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/>
          <a:srcRect t="13841" r="323" b="19090"/>
          <a:stretch/>
        </p:blipFill>
        <p:spPr>
          <a:xfrm rot="19499842" flipV="1">
            <a:off x="3978417" y="3373768"/>
            <a:ext cx="5190608" cy="161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90086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01" name="Picture 1" descr="/Users/zian/Library/Group Containers/UBF8T346G9.Office/msoclip1/01/6F8BDD49-E571-2E43-81DF-DEA11EBE5BFA.png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729831" y="1949450"/>
            <a:ext cx="4699000" cy="3708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377" hangingPunct="0"/>
            <a:fld id="{7DB1B327-4D8B-4363-B1F2-9ED0E4F4AAE4}" type="slidenum">
              <a:rPr lang="ru-RU" sz="1733" kern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pPr defTabSz="914377" hangingPunct="0"/>
              <a:t>29</a:t>
            </a:fld>
            <a:endParaRPr lang="ru-RU" sz="1733" kern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Линейная модель для регрессии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/>
        </p:nvGraphicFramePr>
        <p:xfrm>
          <a:off x="743823" y="2374900"/>
          <a:ext cx="1538932" cy="304800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77250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664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609600"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x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y</a:t>
                      </a:r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09600"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1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2</a:t>
                      </a:r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09600"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3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5</a:t>
                      </a:r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09600"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-1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-2</a:t>
                      </a:r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09600"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5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?</a:t>
                      </a:r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62842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1" name="Shape 431"/>
          <p:cNvSpPr>
            <a:spLocks noGrp="1"/>
          </p:cNvSpPr>
          <p:nvPr>
            <p:ph idx="1"/>
          </p:nvPr>
        </p:nvSpPr>
        <p:spPr>
          <a:xfrm>
            <a:off x="236517" y="1187532"/>
            <a:ext cx="6274264" cy="5423067"/>
          </a:xfrm>
          <a:prstGeom prst="rect">
            <a:avLst/>
          </a:prstGeom>
        </p:spPr>
        <p:txBody>
          <a:bodyPr/>
          <a:lstStyle/>
          <a:p>
            <a:r>
              <a:rPr dirty="0" err="1"/>
              <a:t>Суд</a:t>
            </a:r>
            <a:r>
              <a:rPr dirty="0"/>
              <a:t>: </a:t>
            </a:r>
            <a:r>
              <a:rPr dirty="0" err="1"/>
              <a:t>Хадлум</a:t>
            </a:r>
            <a:r>
              <a:rPr dirty="0"/>
              <a:t> </a:t>
            </a:r>
            <a:r>
              <a:rPr dirty="0" err="1"/>
              <a:t>против</a:t>
            </a:r>
            <a:r>
              <a:rPr dirty="0"/>
              <a:t> </a:t>
            </a:r>
            <a:r>
              <a:rPr dirty="0" err="1"/>
              <a:t>Хадлум</a:t>
            </a:r>
            <a:r>
              <a:rPr dirty="0"/>
              <a:t>, 1949</a:t>
            </a:r>
          </a:p>
          <a:p>
            <a:r>
              <a:rPr dirty="0" err="1"/>
              <a:t>Миссис</a:t>
            </a:r>
            <a:r>
              <a:rPr dirty="0"/>
              <a:t> </a:t>
            </a:r>
            <a:r>
              <a:rPr dirty="0" err="1"/>
              <a:t>Хадлум</a:t>
            </a:r>
            <a:r>
              <a:rPr dirty="0"/>
              <a:t> </a:t>
            </a:r>
            <a:r>
              <a:rPr dirty="0" err="1"/>
              <a:t>родила</a:t>
            </a:r>
            <a:r>
              <a:rPr dirty="0"/>
              <a:t> </a:t>
            </a:r>
            <a:r>
              <a:rPr dirty="0" err="1"/>
              <a:t>ребёнка</a:t>
            </a:r>
            <a:r>
              <a:rPr dirty="0"/>
              <a:t> </a:t>
            </a:r>
            <a:r>
              <a:rPr dirty="0" err="1"/>
              <a:t>через</a:t>
            </a:r>
            <a:r>
              <a:rPr dirty="0"/>
              <a:t> 349 </a:t>
            </a:r>
            <a:r>
              <a:rPr dirty="0" err="1"/>
              <a:t>дней</a:t>
            </a:r>
            <a:r>
              <a:rPr dirty="0"/>
              <a:t> </a:t>
            </a:r>
            <a:r>
              <a:rPr dirty="0" err="1"/>
              <a:t>после</a:t>
            </a:r>
            <a:r>
              <a:rPr dirty="0"/>
              <a:t> </a:t>
            </a:r>
            <a:r>
              <a:rPr dirty="0" err="1"/>
              <a:t>того</a:t>
            </a:r>
            <a:r>
              <a:rPr dirty="0"/>
              <a:t>, </a:t>
            </a:r>
            <a:r>
              <a:rPr dirty="0" err="1"/>
              <a:t>как</a:t>
            </a:r>
            <a:r>
              <a:rPr dirty="0"/>
              <a:t> </a:t>
            </a:r>
            <a:r>
              <a:rPr dirty="0" err="1"/>
              <a:t>мистер</a:t>
            </a:r>
            <a:r>
              <a:rPr dirty="0"/>
              <a:t> </a:t>
            </a:r>
            <a:r>
              <a:rPr dirty="0" err="1"/>
              <a:t>Хадлум</a:t>
            </a:r>
            <a:r>
              <a:rPr dirty="0"/>
              <a:t> </a:t>
            </a:r>
            <a:r>
              <a:rPr dirty="0" err="1"/>
              <a:t>уехал</a:t>
            </a:r>
            <a:r>
              <a:rPr dirty="0"/>
              <a:t> </a:t>
            </a:r>
            <a:r>
              <a:rPr dirty="0" err="1"/>
              <a:t>на</a:t>
            </a:r>
            <a:r>
              <a:rPr dirty="0"/>
              <a:t> </a:t>
            </a:r>
            <a:r>
              <a:rPr dirty="0" err="1"/>
              <a:t>военную</a:t>
            </a:r>
            <a:r>
              <a:rPr dirty="0"/>
              <a:t> </a:t>
            </a:r>
            <a:r>
              <a:rPr dirty="0" err="1"/>
              <a:t>службу</a:t>
            </a:r>
            <a:endParaRPr dirty="0"/>
          </a:p>
          <a:p>
            <a:r>
              <a:rPr dirty="0" err="1"/>
              <a:t>Средний</a:t>
            </a:r>
            <a:r>
              <a:rPr dirty="0"/>
              <a:t> </a:t>
            </a:r>
            <a:r>
              <a:rPr dirty="0" err="1"/>
              <a:t>срок</a:t>
            </a:r>
            <a:r>
              <a:rPr dirty="0"/>
              <a:t> </a:t>
            </a:r>
            <a:r>
              <a:rPr dirty="0" err="1"/>
              <a:t>беременности</a:t>
            </a:r>
            <a:r>
              <a:rPr dirty="0"/>
              <a:t> — 280 </a:t>
            </a:r>
            <a:r>
              <a:rPr dirty="0" err="1"/>
              <a:t>дней</a:t>
            </a:r>
            <a:r>
              <a:rPr lang="ru-RU" dirty="0"/>
              <a:t> (40 недель)</a:t>
            </a:r>
          </a:p>
          <a:p>
            <a:r>
              <a:rPr lang="en-US" dirty="0"/>
              <a:t>Preston-Jones v. Preston-Jones (1951)</a:t>
            </a:r>
            <a:r>
              <a:rPr lang="ru-RU" dirty="0"/>
              <a:t>: 360 дней</a:t>
            </a:r>
            <a:endParaRPr dirty="0"/>
          </a:p>
        </p:txBody>
      </p:sp>
      <p:sp>
        <p:nvSpPr>
          <p:cNvPr id="433" name="Shape 433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 fontScale="90000"/>
          </a:bodyPr>
          <a:lstStyle>
            <a:lvl1pPr defTabSz="813816">
              <a:defRPr sz="1958"/>
            </a:lvl1pPr>
          </a:lstStyle>
          <a:p>
            <a:pPr defTabSz="1219170"/>
            <a:r>
              <a:rPr lang="ru-RU" sz="3733" dirty="0"/>
              <a:t>Нормальное распределение</a:t>
            </a:r>
            <a:endParaRPr sz="3733" dirty="0"/>
          </a:p>
        </p:txBody>
      </p:sp>
      <p:pic>
        <p:nvPicPr>
          <p:cNvPr id="434" name="image28.tif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10779" y="1813346"/>
            <a:ext cx="5412047" cy="4171439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74D59E01-2127-7415-B018-E493E008E287}"/>
              </a:ext>
            </a:extLst>
          </p:cNvPr>
          <p:cNvSpPr txBox="1"/>
          <p:nvPr/>
        </p:nvSpPr>
        <p:spPr>
          <a:xfrm>
            <a:off x="6838326" y="6210925"/>
            <a:ext cx="433919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https://www.jstor.org/stable/2347159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8588397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251" name="Picture 3" descr="/Users/zian/Library/Group Containers/UBF8T346G9.Office/msoclip1/01/3D0FE707-1E81-9944-ADCB-57056EBEF1B2.png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729831" y="1949450"/>
            <a:ext cx="4699000" cy="3708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377" hangingPunct="0"/>
            <a:fld id="{7DB1B327-4D8B-4363-B1F2-9ED0E4F4AAE4}" type="slidenum">
              <a:rPr lang="ru-RU" sz="1733" kern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pPr defTabSz="914377" hangingPunct="0"/>
              <a:t>30</a:t>
            </a:fld>
            <a:endParaRPr lang="ru-RU" sz="1733" kern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Линейная модель для регрессии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/>
        </p:nvGraphicFramePr>
        <p:xfrm>
          <a:off x="743823" y="2374900"/>
          <a:ext cx="1538932" cy="304800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77250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664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609600"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x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y</a:t>
                      </a:r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09600"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1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2</a:t>
                      </a:r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09600"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3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5</a:t>
                      </a:r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09600"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-1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-2</a:t>
                      </a:r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09600"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5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?</a:t>
                      </a:r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1899302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377" hangingPunct="0"/>
            <a:fld id="{B3A57BD6-71FE-407A-A1B7-9E4112267E3D}" type="slidenum">
              <a:rPr lang="ru-RU" sz="1733" kern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pPr defTabSz="914377" hangingPunct="0"/>
              <a:t>31</a:t>
            </a:fld>
            <a:endParaRPr lang="ru-RU" sz="1733" kern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/>
              <a:t>Функционал ошибки</a:t>
            </a:r>
            <a:endParaRPr lang="ru-RU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/>
              <p:cNvSpPr txBox="1"/>
              <p:nvPr/>
            </p:nvSpPr>
            <p:spPr>
              <a:xfrm>
                <a:off x="1645643" y="5232656"/>
                <a:ext cx="4435830" cy="52322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defTabSz="914377" hangingPunct="0"/>
                <a:r>
                  <a:rPr lang="en-US" sz="2800" kern="0" dirty="0">
                    <a:solidFill>
                      <a:schemeClr val="tx1"/>
                    </a:solidFill>
                    <a:latin typeface="Calibri"/>
                    <a:cs typeface="Calibri"/>
                    <a:sym typeface="Calibri"/>
                  </a:rPr>
                  <a:t>MSE</a:t>
                </a:r>
                <a:r>
                  <a:rPr lang="ru-RU" sz="2800" kern="0" dirty="0">
                    <a:solidFill>
                      <a:schemeClr val="tx1"/>
                    </a:solidFill>
                    <a:latin typeface="Calibri"/>
                    <a:cs typeface="Calibri"/>
                    <a:sym typeface="Calibri"/>
                  </a:rPr>
                  <a:t> при фиксированном </a:t>
                </a:r>
                <a14:m>
                  <m:oMath xmlns:m="http://schemas.openxmlformats.org/officeDocument/2006/math">
                    <m:r>
                      <a:rPr lang="en-US" sz="2800" b="1" i="1" kern="0">
                        <a:solidFill>
                          <a:schemeClr val="tx1"/>
                        </a:solidFill>
                        <a:latin typeface="Cambria Math" charset="0"/>
                        <a:sym typeface="Calibri"/>
                      </a:rPr>
                      <m:t>𝒂</m:t>
                    </m:r>
                  </m:oMath>
                </a14:m>
                <a:r>
                  <a:rPr lang="ru-RU" sz="2800" kern="0" dirty="0">
                    <a:solidFill>
                      <a:schemeClr val="tx1"/>
                    </a:solidFill>
                    <a:latin typeface="Calibri"/>
                    <a:cs typeface="Calibri"/>
                    <a:sym typeface="Calibri"/>
                  </a:rPr>
                  <a:t>:</a:t>
                </a:r>
                <a:endParaRPr lang="en-US" sz="2800" kern="0" dirty="0">
                  <a:solidFill>
                    <a:schemeClr val="tx1"/>
                  </a:solidFill>
                  <a:latin typeface="Calibri"/>
                  <a:cs typeface="Calibri"/>
                  <a:sym typeface="Calibri"/>
                </a:endParaRPr>
              </a:p>
            </p:txBody>
          </p:sp>
        </mc:Choice>
        <mc:Fallback xmlns="">
          <p:sp>
            <p:nvSpPr>
              <p:cNvPr id="5" name="TextBox 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45643" y="5232656"/>
                <a:ext cx="4435830" cy="523220"/>
              </a:xfrm>
              <a:prstGeom prst="rect">
                <a:avLst/>
              </a:prstGeom>
              <a:blipFill>
                <a:blip r:embed="rId2"/>
                <a:stretch>
                  <a:fillRect l="-2849" t="-9302" r="-1709" b="-30233"/>
                </a:stretch>
              </a:blipFill>
            </p:spPr>
            <p:txBody>
              <a:bodyPr/>
              <a:lstStyle/>
              <a:p>
                <a:r>
                  <a:rPr lang="en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" name="Rectangle 2"/>
              <p:cNvSpPr/>
              <p:nvPr/>
            </p:nvSpPr>
            <p:spPr>
              <a:xfrm>
                <a:off x="6415521" y="5134939"/>
                <a:ext cx="4020524" cy="79002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defTabSz="914377" hangingPunct="0"/>
                <a:r>
                  <a:rPr lang="ru-RU" sz="3200" kern="0" dirty="0">
                    <a:solidFill>
                      <a:schemeClr val="tx1"/>
                    </a:solidFill>
                    <a:latin typeface="Calibri"/>
                    <a:cs typeface="Calibri"/>
                    <a:sym typeface="Calibri"/>
                  </a:rPr>
                  <a:t>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bg-BG" sz="3200" i="1" ker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sym typeface="Calibri"/>
                          </a:rPr>
                        </m:ctrlPr>
                      </m:fPr>
                      <m:num>
                        <m:r>
                          <a:rPr lang="en-US" sz="3200" i="1" kern="0">
                            <a:solidFill>
                              <a:schemeClr val="tx1"/>
                            </a:solidFill>
                            <a:latin typeface="Cambria Math" charset="0"/>
                            <a:sym typeface="Calibri"/>
                          </a:rPr>
                          <m:t>1</m:t>
                        </m:r>
                      </m:num>
                      <m:den>
                        <m:r>
                          <a:rPr lang="en-US" sz="3200" i="1" kern="0">
                            <a:solidFill>
                              <a:schemeClr val="tx1"/>
                            </a:solidFill>
                            <a:latin typeface="Cambria Math" charset="0"/>
                            <a:ea typeface="Cambria Math" charset="0"/>
                            <a:cs typeface="Cambria Math" charset="0"/>
                            <a:sym typeface="Calibri"/>
                          </a:rPr>
                          <m:t>ℓ</m:t>
                        </m:r>
                      </m:den>
                    </m:f>
                    <m:nary>
                      <m:naryPr>
                        <m:chr m:val="∑"/>
                        <m:ctrlPr>
                          <a:rPr lang="is-IS" sz="3200" i="1" ker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charset="0"/>
                            <a:cs typeface="Cambria Math" charset="0"/>
                            <a:sym typeface="Calibri"/>
                          </a:rPr>
                        </m:ctrlPr>
                      </m:naryPr>
                      <m:sub>
                        <m:r>
                          <m:rPr>
                            <m:brk m:alnAt="23"/>
                          </m:rPr>
                          <a:rPr lang="en-US" sz="3200" i="1" kern="0">
                            <a:solidFill>
                              <a:schemeClr val="tx1"/>
                            </a:solidFill>
                            <a:latin typeface="Cambria Math" charset="0"/>
                            <a:sym typeface="Calibri"/>
                          </a:rPr>
                          <m:t>𝑖</m:t>
                        </m:r>
                        <m:r>
                          <a:rPr lang="en-US" sz="3200" i="1" kern="0">
                            <a:solidFill>
                              <a:schemeClr val="tx1"/>
                            </a:solidFill>
                            <a:latin typeface="Cambria Math" charset="0"/>
                            <a:sym typeface="Calibri"/>
                          </a:rPr>
                          <m:t>=1</m:t>
                        </m:r>
                      </m:sub>
                      <m:sup>
                        <m:r>
                          <a:rPr lang="en-US" sz="3200" i="1" kern="0">
                            <a:solidFill>
                              <a:schemeClr val="tx1"/>
                            </a:solidFill>
                            <a:latin typeface="Cambria Math" charset="0"/>
                            <a:ea typeface="Cambria Math" charset="0"/>
                            <a:cs typeface="Cambria Math" charset="0"/>
                            <a:sym typeface="Calibri"/>
                          </a:rPr>
                          <m:t>ℓ</m:t>
                        </m:r>
                      </m:sup>
                      <m:e>
                        <m:sSup>
                          <m:sSupPr>
                            <m:ctrlPr>
                              <a:rPr lang="en-US" sz="3200" i="1" ker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Cambria Math" charset="0"/>
                                <a:cs typeface="Cambria Math" charset="0"/>
                                <a:sym typeface="Calibri"/>
                              </a:rPr>
                            </m:ctrlPr>
                          </m:sSupPr>
                          <m:e>
                            <m:d>
                              <m:dPr>
                                <m:ctrlPr>
                                  <a:rPr lang="en-US" sz="3200" i="1" ker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Cambria Math" charset="0"/>
                                    <a:cs typeface="Cambria Math" charset="0"/>
                                    <a:sym typeface="Calibri"/>
                                  </a:rPr>
                                </m:ctrlPr>
                              </m:dPr>
                              <m:e>
                                <m:r>
                                  <a:rPr lang="en-US" sz="3200" b="1" i="1" kern="0">
                                    <a:solidFill>
                                      <a:schemeClr val="tx1"/>
                                    </a:solidFill>
                                    <a:latin typeface="Cambria Math" charset="0"/>
                                    <a:sym typeface="Calibri"/>
                                  </a:rPr>
                                  <m:t>𝒂</m:t>
                                </m:r>
                                <m:sSub>
                                  <m:sSubPr>
                                    <m:ctrlPr>
                                      <a:rPr lang="en-US" sz="3200" i="1" ker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sym typeface="Calibri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3200" i="1" ker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  <a:sym typeface="Calibri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lang="en-US" sz="3200" i="1" ker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  <a:sym typeface="Calibri"/>
                                      </a:rPr>
                                      <m:t>𝑖</m:t>
                                    </m:r>
                                  </m:sub>
                                </m:sSub>
                                <m:r>
                                  <a:rPr lang="en-US" sz="3200" i="1" kern="0">
                                    <a:solidFill>
                                      <a:schemeClr val="tx1"/>
                                    </a:solidFill>
                                    <a:latin typeface="Cambria Math" charset="0"/>
                                    <a:sym typeface="Calibri"/>
                                  </a:rPr>
                                  <m:t>+</m:t>
                                </m:r>
                                <m:r>
                                  <a:rPr lang="en-US" sz="3200" b="1" i="1" kern="0">
                                    <a:solidFill>
                                      <a:schemeClr val="tx1"/>
                                    </a:solidFill>
                                    <a:latin typeface="Cambria Math" charset="0"/>
                                    <a:sym typeface="Calibri"/>
                                  </a:rPr>
                                  <m:t>𝒃</m:t>
                                </m:r>
                                <m:r>
                                  <a:rPr lang="en-US" sz="3200" i="1" kern="0">
                                    <a:solidFill>
                                      <a:schemeClr val="tx1"/>
                                    </a:solidFill>
                                    <a:latin typeface="Cambria Math" charset="0"/>
                                    <a:sym typeface="Calibri"/>
                                  </a:rPr>
                                  <m:t>−</m:t>
                                </m:r>
                                <m:sSub>
                                  <m:sSubPr>
                                    <m:ctrlPr>
                                      <a:rPr lang="en-US" sz="3200" i="1" ker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sym typeface="Calibri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3200" i="1" ker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  <a:sym typeface="Calibri"/>
                                      </a:rPr>
                                      <m:t>𝑦</m:t>
                                    </m:r>
                                  </m:e>
                                  <m:sub>
                                    <m:r>
                                      <a:rPr lang="en-US" sz="3200" i="1" ker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  <a:sym typeface="Calibri"/>
                                      </a:rPr>
                                      <m:t>𝑖</m:t>
                                    </m:r>
                                  </m:sub>
                                </m:sSub>
                              </m:e>
                            </m:d>
                          </m:e>
                          <m:sup>
                            <m:r>
                              <a:rPr lang="en-US" sz="3200" i="1" kern="0">
                                <a:solidFill>
                                  <a:schemeClr val="tx1"/>
                                </a:solidFill>
                                <a:latin typeface="Cambria Math" charset="0"/>
                                <a:sym typeface="Calibri"/>
                              </a:rPr>
                              <m:t>2</m:t>
                            </m:r>
                          </m:sup>
                        </m:sSup>
                      </m:e>
                    </m:nary>
                  </m:oMath>
                </a14:m>
                <a:endParaRPr lang="en-US" sz="3200" kern="0" dirty="0">
                  <a:solidFill>
                    <a:schemeClr val="tx1"/>
                  </a:solidFill>
                  <a:latin typeface="Calibri"/>
                  <a:cs typeface="Calibri"/>
                  <a:sym typeface="Calibri"/>
                </a:endParaRPr>
              </a:p>
            </p:txBody>
          </p:sp>
        </mc:Choice>
        <mc:Fallback xmlns="">
          <p:sp>
            <p:nvSpPr>
              <p:cNvPr id="3" name="Rectangle 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15521" y="5134939"/>
                <a:ext cx="4020524" cy="790024"/>
              </a:xfrm>
              <a:prstGeom prst="rect">
                <a:avLst/>
              </a:prstGeom>
              <a:blipFill>
                <a:blip r:embed="rId3"/>
                <a:stretch>
                  <a:fillRect l="-7547" t="-85714" b="-138095"/>
                </a:stretch>
              </a:blipFill>
            </p:spPr>
            <p:txBody>
              <a:bodyPr/>
              <a:lstStyle/>
              <a:p>
                <a:r>
                  <a:rPr lang="en-RU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3" name="Group 12"/>
          <p:cNvGrpSpPr/>
          <p:nvPr/>
        </p:nvGrpSpPr>
        <p:grpSpPr>
          <a:xfrm>
            <a:off x="2844801" y="1073779"/>
            <a:ext cx="5791200" cy="3689500"/>
            <a:chOff x="2844801" y="1073778"/>
            <a:chExt cx="5791200" cy="3689500"/>
          </a:xfrm>
        </p:grpSpPr>
        <p:pic>
          <p:nvPicPr>
            <p:cNvPr id="27650" name="Picture 2"/>
            <p:cNvPicPr>
              <a:picLocks noChangeAspect="1" noChangeArrowheads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1818" b="5145"/>
            <a:stretch/>
          </p:blipFill>
          <p:spPr bwMode="auto">
            <a:xfrm>
              <a:off x="2844801" y="1073778"/>
              <a:ext cx="5791200" cy="36895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6" name="Rectangle 5"/>
                <p:cNvSpPr/>
                <p:nvPr/>
              </p:nvSpPr>
              <p:spPr>
                <a:xfrm>
                  <a:off x="7789189" y="3986849"/>
                  <a:ext cx="441146" cy="461665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defTabSz="914377" hangingPunct="0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2400" b="1" i="1" kern="0">
                            <a:solidFill>
                              <a:srgbClr val="C00000"/>
                            </a:solidFill>
                            <a:latin typeface="Cambria Math" charset="0"/>
                            <a:sym typeface="Calibri"/>
                          </a:rPr>
                          <m:t>𝒃</m:t>
                        </m:r>
                      </m:oMath>
                    </m:oMathPara>
                  </a14:m>
                  <a:endParaRPr lang="en-US" sz="2000" kern="0" dirty="0">
                    <a:solidFill>
                      <a:srgbClr val="C00000"/>
                    </a:solidFill>
                    <a:latin typeface="Calibri"/>
                    <a:cs typeface="Calibri"/>
                    <a:sym typeface="Calibri"/>
                  </a:endParaRPr>
                </a:p>
              </p:txBody>
            </p:sp>
          </mc:Choice>
          <mc:Fallback xmlns="">
            <p:sp>
              <p:nvSpPr>
                <p:cNvPr id="6" name="Rectangle 5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789189" y="3986849"/>
                  <a:ext cx="441146" cy="461665"/>
                </a:xfrm>
                <a:prstGeom prst="rect">
                  <a:avLst/>
                </a:prstGeom>
                <a:blipFill>
                  <a:blip r:embed="rId5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ru-RU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7" name="Rectangle 6"/>
            <p:cNvSpPr/>
            <p:nvPr/>
          </p:nvSpPr>
          <p:spPr>
            <a:xfrm>
              <a:off x="3486498" y="1238878"/>
              <a:ext cx="750526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4377" hangingPunct="0"/>
              <a:r>
                <a:rPr lang="en-US" sz="2400" b="1" kern="0" dirty="0">
                  <a:solidFill>
                    <a:srgbClr val="000000"/>
                  </a:solidFill>
                  <a:latin typeface="Calibri"/>
                  <a:cs typeface="Calibri"/>
                  <a:sym typeface="Calibri"/>
                </a:rPr>
                <a:t>MSE</a:t>
              </a:r>
            </a:p>
          </p:txBody>
        </p:sp>
      </p:grpSp>
      <p:sp>
        <p:nvSpPr>
          <p:cNvPr id="8" name="Left Brace 7"/>
          <p:cNvSpPr/>
          <p:nvPr/>
        </p:nvSpPr>
        <p:spPr>
          <a:xfrm rot="16200000">
            <a:off x="8371296" y="5224571"/>
            <a:ext cx="190779" cy="1354991"/>
          </a:xfrm>
          <a:prstGeom prst="leftBrace">
            <a:avLst>
              <a:gd name="adj1" fmla="val 82179"/>
              <a:gd name="adj2" fmla="val 50980"/>
            </a:avLst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914377" hangingPunct="0"/>
            <a:endParaRPr lang="en-US" sz="1300" kern="0">
              <a:latin typeface="Helvetica"/>
              <a:sym typeface="Calibri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7914978" y="5957106"/>
            <a:ext cx="118173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377" hangingPunct="0"/>
            <a:r>
              <a:rPr lang="ru-RU" sz="2400" kern="0" dirty="0">
                <a:latin typeface="Calibri"/>
                <a:cs typeface="Calibri"/>
                <a:sym typeface="Calibri"/>
              </a:rPr>
              <a:t>модель</a:t>
            </a:r>
            <a:endParaRPr lang="en-US" sz="2400" kern="0" dirty="0">
              <a:latin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561695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3CC1F6-AFC7-E745-A84B-62838792C6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377" hangingPunct="0"/>
            <a:fld id="{7DB1B327-4D8B-4363-B1F2-9ED0E4F4AAE4}" type="slidenum">
              <a:rPr lang="ru-RU" sz="1733" kern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pPr defTabSz="914377" hangingPunct="0"/>
              <a:t>32</a:t>
            </a:fld>
            <a:endParaRPr lang="ru-RU" sz="1733" kern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/>
              <a:t>Функционал ошибки</a:t>
            </a:r>
            <a:endParaRPr lang="ru-RU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/>
              <p:cNvSpPr txBox="1"/>
              <p:nvPr/>
            </p:nvSpPr>
            <p:spPr>
              <a:xfrm>
                <a:off x="1645643" y="5232656"/>
                <a:ext cx="4435830" cy="52322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defTabSz="914377" hangingPunct="0"/>
                <a:r>
                  <a:rPr lang="en-US" sz="2800" kern="0" dirty="0">
                    <a:solidFill>
                      <a:schemeClr val="tx1"/>
                    </a:solidFill>
                    <a:latin typeface="Calibri"/>
                    <a:cs typeface="Calibri"/>
                    <a:sym typeface="Calibri"/>
                  </a:rPr>
                  <a:t>MSE</a:t>
                </a:r>
                <a:r>
                  <a:rPr lang="ru-RU" sz="2800" kern="0" dirty="0">
                    <a:solidFill>
                      <a:schemeClr val="tx1"/>
                    </a:solidFill>
                    <a:latin typeface="Calibri"/>
                    <a:cs typeface="Calibri"/>
                    <a:sym typeface="Calibri"/>
                  </a:rPr>
                  <a:t> при фиксированном </a:t>
                </a:r>
                <a14:m>
                  <m:oMath xmlns:m="http://schemas.openxmlformats.org/officeDocument/2006/math">
                    <m:r>
                      <a:rPr lang="en-US" sz="2800" b="1" i="1" kern="0">
                        <a:solidFill>
                          <a:schemeClr val="tx1"/>
                        </a:solidFill>
                        <a:latin typeface="Cambria Math" charset="0"/>
                        <a:sym typeface="Calibri"/>
                      </a:rPr>
                      <m:t>𝒂</m:t>
                    </m:r>
                  </m:oMath>
                </a14:m>
                <a:r>
                  <a:rPr lang="ru-RU" sz="2800" kern="0" dirty="0">
                    <a:solidFill>
                      <a:schemeClr val="tx1"/>
                    </a:solidFill>
                    <a:latin typeface="Calibri"/>
                    <a:cs typeface="Calibri"/>
                    <a:sym typeface="Calibri"/>
                  </a:rPr>
                  <a:t>:</a:t>
                </a:r>
                <a:endParaRPr lang="en-US" sz="2800" kern="0" dirty="0">
                  <a:solidFill>
                    <a:schemeClr val="tx1"/>
                  </a:solidFill>
                  <a:latin typeface="Calibri"/>
                  <a:cs typeface="Calibri"/>
                  <a:sym typeface="Calibri"/>
                </a:endParaRPr>
              </a:p>
            </p:txBody>
          </p:sp>
        </mc:Choice>
        <mc:Fallback xmlns="">
          <p:sp>
            <p:nvSpPr>
              <p:cNvPr id="5" name="TextBox 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45643" y="5232656"/>
                <a:ext cx="4435830" cy="523220"/>
              </a:xfrm>
              <a:prstGeom prst="rect">
                <a:avLst/>
              </a:prstGeom>
              <a:blipFill>
                <a:blip r:embed="rId2"/>
                <a:stretch>
                  <a:fillRect l="-2849" t="-9302" r="-1709" b="-30233"/>
                </a:stretch>
              </a:blipFill>
            </p:spPr>
            <p:txBody>
              <a:bodyPr/>
              <a:lstStyle/>
              <a:p>
                <a:r>
                  <a:rPr lang="en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" name="Rectangle 2"/>
              <p:cNvSpPr/>
              <p:nvPr/>
            </p:nvSpPr>
            <p:spPr>
              <a:xfrm>
                <a:off x="6415521" y="5134939"/>
                <a:ext cx="4020524" cy="79002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defTabSz="914377" hangingPunct="0"/>
                <a:r>
                  <a:rPr lang="ru-RU" sz="3200" kern="0" dirty="0">
                    <a:solidFill>
                      <a:schemeClr val="tx1"/>
                    </a:solidFill>
                    <a:latin typeface="Calibri"/>
                    <a:cs typeface="Calibri"/>
                    <a:sym typeface="Calibri"/>
                  </a:rPr>
                  <a:t>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bg-BG" sz="3200" i="1" ker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sym typeface="Calibri"/>
                          </a:rPr>
                        </m:ctrlPr>
                      </m:fPr>
                      <m:num>
                        <m:r>
                          <a:rPr lang="en-US" sz="3200" i="1" kern="0">
                            <a:solidFill>
                              <a:schemeClr val="tx1"/>
                            </a:solidFill>
                            <a:latin typeface="Cambria Math" charset="0"/>
                            <a:sym typeface="Calibri"/>
                          </a:rPr>
                          <m:t>1</m:t>
                        </m:r>
                      </m:num>
                      <m:den>
                        <m:r>
                          <a:rPr lang="en-US" sz="3200" i="1" kern="0">
                            <a:solidFill>
                              <a:schemeClr val="tx1"/>
                            </a:solidFill>
                            <a:latin typeface="Cambria Math" charset="0"/>
                            <a:ea typeface="Cambria Math" charset="0"/>
                            <a:cs typeface="Cambria Math" charset="0"/>
                            <a:sym typeface="Calibri"/>
                          </a:rPr>
                          <m:t>ℓ</m:t>
                        </m:r>
                      </m:den>
                    </m:f>
                    <m:nary>
                      <m:naryPr>
                        <m:chr m:val="∑"/>
                        <m:ctrlPr>
                          <a:rPr lang="is-IS" sz="3200" i="1" ker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charset="0"/>
                            <a:cs typeface="Cambria Math" charset="0"/>
                            <a:sym typeface="Calibri"/>
                          </a:rPr>
                        </m:ctrlPr>
                      </m:naryPr>
                      <m:sub>
                        <m:r>
                          <m:rPr>
                            <m:brk m:alnAt="23"/>
                          </m:rPr>
                          <a:rPr lang="en-US" sz="3200" i="1" kern="0">
                            <a:solidFill>
                              <a:schemeClr val="tx1"/>
                            </a:solidFill>
                            <a:latin typeface="Cambria Math" charset="0"/>
                            <a:sym typeface="Calibri"/>
                          </a:rPr>
                          <m:t>𝑖</m:t>
                        </m:r>
                        <m:r>
                          <a:rPr lang="en-US" sz="3200" i="1" kern="0">
                            <a:solidFill>
                              <a:schemeClr val="tx1"/>
                            </a:solidFill>
                            <a:latin typeface="Cambria Math" charset="0"/>
                            <a:sym typeface="Calibri"/>
                          </a:rPr>
                          <m:t>=1</m:t>
                        </m:r>
                      </m:sub>
                      <m:sup>
                        <m:r>
                          <a:rPr lang="en-US" sz="3200" i="1" kern="0">
                            <a:solidFill>
                              <a:schemeClr val="tx1"/>
                            </a:solidFill>
                            <a:latin typeface="Cambria Math" charset="0"/>
                            <a:ea typeface="Cambria Math" charset="0"/>
                            <a:cs typeface="Cambria Math" charset="0"/>
                            <a:sym typeface="Calibri"/>
                          </a:rPr>
                          <m:t>ℓ</m:t>
                        </m:r>
                      </m:sup>
                      <m:e>
                        <m:sSup>
                          <m:sSupPr>
                            <m:ctrlPr>
                              <a:rPr lang="en-US" sz="3200" i="1" ker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Cambria Math" charset="0"/>
                                <a:cs typeface="Cambria Math" charset="0"/>
                                <a:sym typeface="Calibri"/>
                              </a:rPr>
                            </m:ctrlPr>
                          </m:sSupPr>
                          <m:e>
                            <m:d>
                              <m:dPr>
                                <m:ctrlPr>
                                  <a:rPr lang="en-US" sz="3200" i="1" ker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Cambria Math" charset="0"/>
                                    <a:cs typeface="Cambria Math" charset="0"/>
                                    <a:sym typeface="Calibri"/>
                                  </a:rPr>
                                </m:ctrlPr>
                              </m:dPr>
                              <m:e>
                                <m:r>
                                  <a:rPr lang="en-US" sz="3200" b="1" i="1" kern="0">
                                    <a:solidFill>
                                      <a:schemeClr val="tx1"/>
                                    </a:solidFill>
                                    <a:latin typeface="Cambria Math" charset="0"/>
                                    <a:sym typeface="Calibri"/>
                                  </a:rPr>
                                  <m:t>𝒂</m:t>
                                </m:r>
                                <m:sSub>
                                  <m:sSubPr>
                                    <m:ctrlPr>
                                      <a:rPr lang="en-US" sz="3200" i="1" ker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sym typeface="Calibri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3200" i="1" ker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  <a:sym typeface="Calibri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lang="en-US" sz="3200" i="1" ker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  <a:sym typeface="Calibri"/>
                                      </a:rPr>
                                      <m:t>𝑖</m:t>
                                    </m:r>
                                  </m:sub>
                                </m:sSub>
                                <m:r>
                                  <a:rPr lang="en-US" sz="3200" i="1" kern="0">
                                    <a:solidFill>
                                      <a:schemeClr val="tx1"/>
                                    </a:solidFill>
                                    <a:latin typeface="Cambria Math" charset="0"/>
                                    <a:sym typeface="Calibri"/>
                                  </a:rPr>
                                  <m:t>+</m:t>
                                </m:r>
                                <m:r>
                                  <a:rPr lang="en-US" sz="3200" b="1" i="1" kern="0">
                                    <a:solidFill>
                                      <a:schemeClr val="tx1"/>
                                    </a:solidFill>
                                    <a:latin typeface="Cambria Math" charset="0"/>
                                    <a:sym typeface="Calibri"/>
                                  </a:rPr>
                                  <m:t>𝒃</m:t>
                                </m:r>
                                <m:r>
                                  <a:rPr lang="en-US" sz="3200" i="1" kern="0">
                                    <a:solidFill>
                                      <a:schemeClr val="tx1"/>
                                    </a:solidFill>
                                    <a:latin typeface="Cambria Math" charset="0"/>
                                    <a:sym typeface="Calibri"/>
                                  </a:rPr>
                                  <m:t>−</m:t>
                                </m:r>
                                <m:sSub>
                                  <m:sSubPr>
                                    <m:ctrlPr>
                                      <a:rPr lang="en-US" sz="3200" i="1" ker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sym typeface="Calibri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3200" i="1" ker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  <a:sym typeface="Calibri"/>
                                      </a:rPr>
                                      <m:t>𝑦</m:t>
                                    </m:r>
                                  </m:e>
                                  <m:sub>
                                    <m:r>
                                      <a:rPr lang="en-US" sz="3200" i="1" ker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  <a:sym typeface="Calibri"/>
                                      </a:rPr>
                                      <m:t>𝑖</m:t>
                                    </m:r>
                                  </m:sub>
                                </m:sSub>
                              </m:e>
                            </m:d>
                          </m:e>
                          <m:sup>
                            <m:r>
                              <a:rPr lang="en-US" sz="3200" i="1" kern="0">
                                <a:solidFill>
                                  <a:schemeClr val="tx1"/>
                                </a:solidFill>
                                <a:latin typeface="Cambria Math" charset="0"/>
                                <a:sym typeface="Calibri"/>
                              </a:rPr>
                              <m:t>2</m:t>
                            </m:r>
                          </m:sup>
                        </m:sSup>
                      </m:e>
                    </m:nary>
                  </m:oMath>
                </a14:m>
                <a:endParaRPr lang="en-US" sz="3200" kern="0" dirty="0">
                  <a:solidFill>
                    <a:schemeClr val="tx1"/>
                  </a:solidFill>
                  <a:latin typeface="Calibri"/>
                  <a:cs typeface="Calibri"/>
                  <a:sym typeface="Calibri"/>
                </a:endParaRPr>
              </a:p>
            </p:txBody>
          </p:sp>
        </mc:Choice>
        <mc:Fallback xmlns="">
          <p:sp>
            <p:nvSpPr>
              <p:cNvPr id="3" name="Rectangle 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15521" y="5134939"/>
                <a:ext cx="4020524" cy="790024"/>
              </a:xfrm>
              <a:prstGeom prst="rect">
                <a:avLst/>
              </a:prstGeom>
              <a:blipFill>
                <a:blip r:embed="rId3"/>
                <a:stretch>
                  <a:fillRect l="-7547" t="-85714" b="-138095"/>
                </a:stretch>
              </a:blipFill>
            </p:spPr>
            <p:txBody>
              <a:bodyPr/>
              <a:lstStyle/>
              <a:p>
                <a:r>
                  <a:rPr lang="en-RU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3" name="Group 12"/>
          <p:cNvGrpSpPr/>
          <p:nvPr/>
        </p:nvGrpSpPr>
        <p:grpSpPr>
          <a:xfrm>
            <a:off x="2844801" y="1073779"/>
            <a:ext cx="5791200" cy="3689500"/>
            <a:chOff x="2844801" y="1073778"/>
            <a:chExt cx="5791200" cy="3689500"/>
          </a:xfrm>
        </p:grpSpPr>
        <p:pic>
          <p:nvPicPr>
            <p:cNvPr id="27650" name="Picture 2"/>
            <p:cNvPicPr>
              <a:picLocks noChangeAspect="1" noChangeArrowheads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1818" b="5145"/>
            <a:stretch/>
          </p:blipFill>
          <p:spPr bwMode="auto">
            <a:xfrm>
              <a:off x="2844801" y="1073778"/>
              <a:ext cx="5791200" cy="36895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6" name="Rectangle 5"/>
                <p:cNvSpPr/>
                <p:nvPr/>
              </p:nvSpPr>
              <p:spPr>
                <a:xfrm>
                  <a:off x="7789189" y="3986849"/>
                  <a:ext cx="441146" cy="461665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defTabSz="914377" hangingPunct="0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2400" b="1" i="1" kern="0">
                            <a:solidFill>
                              <a:srgbClr val="C00000"/>
                            </a:solidFill>
                            <a:latin typeface="Cambria Math" charset="0"/>
                            <a:sym typeface="Calibri"/>
                          </a:rPr>
                          <m:t>𝒃</m:t>
                        </m:r>
                      </m:oMath>
                    </m:oMathPara>
                  </a14:m>
                  <a:endParaRPr lang="en-US" sz="2000" kern="0" dirty="0">
                    <a:solidFill>
                      <a:srgbClr val="C00000"/>
                    </a:solidFill>
                    <a:latin typeface="Calibri"/>
                    <a:cs typeface="Calibri"/>
                    <a:sym typeface="Calibri"/>
                  </a:endParaRPr>
                </a:p>
              </p:txBody>
            </p:sp>
          </mc:Choice>
          <mc:Fallback xmlns="">
            <p:sp>
              <p:nvSpPr>
                <p:cNvPr id="6" name="Rectangle 5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789189" y="3986849"/>
                  <a:ext cx="441146" cy="461665"/>
                </a:xfrm>
                <a:prstGeom prst="rect">
                  <a:avLst/>
                </a:prstGeom>
                <a:blipFill>
                  <a:blip r:embed="rId5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ru-RU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7" name="Rectangle 6"/>
            <p:cNvSpPr/>
            <p:nvPr/>
          </p:nvSpPr>
          <p:spPr>
            <a:xfrm>
              <a:off x="3486498" y="1238878"/>
              <a:ext cx="750526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4377" hangingPunct="0"/>
              <a:r>
                <a:rPr lang="en-US" sz="2400" b="1" kern="0" dirty="0">
                  <a:solidFill>
                    <a:srgbClr val="000000"/>
                  </a:solidFill>
                  <a:latin typeface="Calibri"/>
                  <a:cs typeface="Calibri"/>
                  <a:sym typeface="Calibri"/>
                </a:rPr>
                <a:t>MSE</a:t>
              </a:r>
            </a:p>
          </p:txBody>
        </p:sp>
      </p:grpSp>
      <p:sp>
        <p:nvSpPr>
          <p:cNvPr id="8" name="Left Brace 7"/>
          <p:cNvSpPr/>
          <p:nvPr/>
        </p:nvSpPr>
        <p:spPr>
          <a:xfrm rot="16200000">
            <a:off x="8371296" y="5224571"/>
            <a:ext cx="190779" cy="1354991"/>
          </a:xfrm>
          <a:prstGeom prst="leftBrace">
            <a:avLst>
              <a:gd name="adj1" fmla="val 82179"/>
              <a:gd name="adj2" fmla="val 50980"/>
            </a:avLst>
          </a:prstGeom>
          <a:ln>
            <a:solidFill>
              <a:srgbClr val="FFC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914377" hangingPunct="0"/>
            <a:endParaRPr lang="en-US" sz="1300" kern="0">
              <a:latin typeface="Helvetica"/>
              <a:sym typeface="Calibri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7914978" y="5957106"/>
            <a:ext cx="118173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377" hangingPunct="0"/>
            <a:r>
              <a:rPr lang="ru-RU" sz="2400" kern="0" dirty="0">
                <a:latin typeface="Calibri"/>
                <a:cs typeface="Calibri"/>
                <a:sym typeface="Calibri"/>
              </a:rPr>
              <a:t>модель</a:t>
            </a:r>
            <a:endParaRPr lang="en-US" sz="2400" kern="0" dirty="0">
              <a:latin typeface="Calibri"/>
              <a:cs typeface="Calibri"/>
              <a:sym typeface="Calibri"/>
            </a:endParaRPr>
          </a:p>
        </p:txBody>
      </p:sp>
      <p:sp>
        <p:nvSpPr>
          <p:cNvPr id="12" name="Oval 11"/>
          <p:cNvSpPr/>
          <p:nvPr/>
        </p:nvSpPr>
        <p:spPr>
          <a:xfrm>
            <a:off x="4086455" y="2445107"/>
            <a:ext cx="585216" cy="56896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 hangingPunct="0"/>
            <a:endParaRPr lang="en-US" sz="2400" kern="0">
              <a:solidFill>
                <a:srgbClr val="FFFFFF"/>
              </a:solidFill>
              <a:latin typeface="Helvetica"/>
              <a:sym typeface="Calibri"/>
            </a:endParaRPr>
          </a:p>
        </p:txBody>
      </p:sp>
      <p:cxnSp>
        <p:nvCxnSpPr>
          <p:cNvPr id="14" name="Straight Arrow Connector 13"/>
          <p:cNvCxnSpPr/>
          <p:nvPr/>
        </p:nvCxnSpPr>
        <p:spPr>
          <a:xfrm>
            <a:off x="4493270" y="3014067"/>
            <a:ext cx="419695" cy="561223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4717383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971645F-874C-044D-B7EB-E92973B4E3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377" hangingPunct="0"/>
            <a:fld id="{7DB1B327-4D8B-4363-B1F2-9ED0E4F4AAE4}" type="slidenum">
              <a:rPr lang="ru-RU" sz="1733" kern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pPr defTabSz="914377" hangingPunct="0"/>
              <a:t>33</a:t>
            </a:fld>
            <a:endParaRPr lang="ru-RU" sz="1733" kern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/>
              <a:t>Функционал ошибки</a:t>
            </a:r>
            <a:endParaRPr lang="ru-RU" dirty="0"/>
          </a:p>
        </p:txBody>
      </p:sp>
      <p:grpSp>
        <p:nvGrpSpPr>
          <p:cNvPr id="13" name="Group 12"/>
          <p:cNvGrpSpPr/>
          <p:nvPr/>
        </p:nvGrpSpPr>
        <p:grpSpPr>
          <a:xfrm>
            <a:off x="2844801" y="1073779"/>
            <a:ext cx="5791200" cy="3689500"/>
            <a:chOff x="2844801" y="1073778"/>
            <a:chExt cx="5791200" cy="3689500"/>
          </a:xfrm>
        </p:grpSpPr>
        <p:pic>
          <p:nvPicPr>
            <p:cNvPr id="27650" name="Picture 2"/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1818" b="5145"/>
            <a:stretch/>
          </p:blipFill>
          <p:spPr bwMode="auto">
            <a:xfrm>
              <a:off x="2844801" y="1073778"/>
              <a:ext cx="5791200" cy="36895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6" name="Rectangle 5"/>
                <p:cNvSpPr/>
                <p:nvPr/>
              </p:nvSpPr>
              <p:spPr>
                <a:xfrm>
                  <a:off x="7789189" y="3986849"/>
                  <a:ext cx="441146" cy="461665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defTabSz="914377" hangingPunct="0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2400" b="1" i="1" kern="0">
                            <a:solidFill>
                              <a:srgbClr val="C00000"/>
                            </a:solidFill>
                            <a:latin typeface="Cambria Math" charset="0"/>
                            <a:sym typeface="Calibri"/>
                          </a:rPr>
                          <m:t>𝒃</m:t>
                        </m:r>
                      </m:oMath>
                    </m:oMathPara>
                  </a14:m>
                  <a:endParaRPr lang="en-US" sz="2000" kern="0" dirty="0">
                    <a:solidFill>
                      <a:srgbClr val="C00000"/>
                    </a:solidFill>
                    <a:latin typeface="Calibri"/>
                    <a:cs typeface="Calibri"/>
                    <a:sym typeface="Calibri"/>
                  </a:endParaRPr>
                </a:p>
              </p:txBody>
            </p:sp>
          </mc:Choice>
          <mc:Fallback xmlns="">
            <p:sp>
              <p:nvSpPr>
                <p:cNvPr id="6" name="Rectangle 5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789189" y="3986849"/>
                  <a:ext cx="441146" cy="461665"/>
                </a:xfrm>
                <a:prstGeom prst="rect">
                  <a:avLst/>
                </a:prstGeom>
                <a:blipFill>
                  <a:blip r:embed="rId5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ru-RU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7" name="Rectangle 6"/>
            <p:cNvSpPr/>
            <p:nvPr/>
          </p:nvSpPr>
          <p:spPr>
            <a:xfrm>
              <a:off x="3486498" y="1238878"/>
              <a:ext cx="750526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4377" hangingPunct="0"/>
              <a:r>
                <a:rPr lang="en-US" sz="2400" b="1" kern="0" dirty="0">
                  <a:solidFill>
                    <a:srgbClr val="000000"/>
                  </a:solidFill>
                  <a:latin typeface="Calibri"/>
                  <a:cs typeface="Calibri"/>
                  <a:sym typeface="Calibri"/>
                </a:rPr>
                <a:t>MSE</a:t>
              </a:r>
            </a:p>
          </p:txBody>
        </p:sp>
      </p:grpSp>
      <p:sp>
        <p:nvSpPr>
          <p:cNvPr id="12" name="Oval 11"/>
          <p:cNvSpPr/>
          <p:nvPr/>
        </p:nvSpPr>
        <p:spPr>
          <a:xfrm>
            <a:off x="4611133" y="3253835"/>
            <a:ext cx="585216" cy="56896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 hangingPunct="0"/>
            <a:endParaRPr lang="en-US" sz="2400" kern="0">
              <a:solidFill>
                <a:srgbClr val="FFFFFF"/>
              </a:solidFill>
              <a:latin typeface="Helvetica"/>
              <a:sym typeface="Calibri"/>
            </a:endParaRPr>
          </a:p>
        </p:txBody>
      </p:sp>
      <p:cxnSp>
        <p:nvCxnSpPr>
          <p:cNvPr id="14" name="Straight Arrow Connector 13"/>
          <p:cNvCxnSpPr/>
          <p:nvPr/>
        </p:nvCxnSpPr>
        <p:spPr>
          <a:xfrm>
            <a:off x="5017948" y="3822795"/>
            <a:ext cx="561443" cy="408243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9CF4C29E-8CAD-AD43-8193-392C44A03239}"/>
                  </a:ext>
                </a:extLst>
              </p:cNvPr>
              <p:cNvSpPr txBox="1"/>
              <p:nvPr/>
            </p:nvSpPr>
            <p:spPr>
              <a:xfrm>
                <a:off x="1645643" y="5232656"/>
                <a:ext cx="4435830" cy="52322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defTabSz="914377" hangingPunct="0"/>
                <a:r>
                  <a:rPr lang="en-US" sz="2800" kern="0" dirty="0">
                    <a:solidFill>
                      <a:schemeClr val="tx1"/>
                    </a:solidFill>
                    <a:latin typeface="Calibri"/>
                    <a:cs typeface="Calibri"/>
                    <a:sym typeface="Calibri"/>
                  </a:rPr>
                  <a:t>MSE</a:t>
                </a:r>
                <a:r>
                  <a:rPr lang="ru-RU" sz="2800" kern="0" dirty="0">
                    <a:solidFill>
                      <a:schemeClr val="tx1"/>
                    </a:solidFill>
                    <a:latin typeface="Calibri"/>
                    <a:cs typeface="Calibri"/>
                    <a:sym typeface="Calibri"/>
                  </a:rPr>
                  <a:t> при фиксированном </a:t>
                </a:r>
                <a14:m>
                  <m:oMath xmlns:m="http://schemas.openxmlformats.org/officeDocument/2006/math">
                    <m:r>
                      <a:rPr lang="en-US" sz="2800" b="1" i="1" kern="0">
                        <a:solidFill>
                          <a:schemeClr val="tx1"/>
                        </a:solidFill>
                        <a:latin typeface="Cambria Math" charset="0"/>
                        <a:sym typeface="Calibri"/>
                      </a:rPr>
                      <m:t>𝒂</m:t>
                    </m:r>
                  </m:oMath>
                </a14:m>
                <a:r>
                  <a:rPr lang="ru-RU" sz="2800" kern="0" dirty="0">
                    <a:solidFill>
                      <a:schemeClr val="tx1"/>
                    </a:solidFill>
                    <a:latin typeface="Calibri"/>
                    <a:cs typeface="Calibri"/>
                    <a:sym typeface="Calibri"/>
                  </a:rPr>
                  <a:t>:</a:t>
                </a:r>
                <a:endParaRPr lang="en-US" sz="2800" kern="0" dirty="0">
                  <a:solidFill>
                    <a:schemeClr val="tx1"/>
                  </a:solidFill>
                  <a:latin typeface="Calibri"/>
                  <a:cs typeface="Calibri"/>
                  <a:sym typeface="Calibri"/>
                </a:endParaRPr>
              </a:p>
            </p:txBody>
          </p:sp>
        </mc:Choice>
        <mc:Fallback xmlns="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9CF4C29E-8CAD-AD43-8193-392C44A0323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45643" y="5232656"/>
                <a:ext cx="4435830" cy="523220"/>
              </a:xfrm>
              <a:prstGeom prst="rect">
                <a:avLst/>
              </a:prstGeom>
              <a:blipFill>
                <a:blip r:embed="rId6"/>
                <a:stretch>
                  <a:fillRect l="-2849" t="-9302" r="-1709" b="-30233"/>
                </a:stretch>
              </a:blipFill>
            </p:spPr>
            <p:txBody>
              <a:bodyPr/>
              <a:lstStyle/>
              <a:p>
                <a:r>
                  <a:rPr lang="en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2E7EEA37-D2ED-DA44-8BD1-9A8E29185835}"/>
                  </a:ext>
                </a:extLst>
              </p:cNvPr>
              <p:cNvSpPr/>
              <p:nvPr/>
            </p:nvSpPr>
            <p:spPr>
              <a:xfrm>
                <a:off x="6415521" y="5134939"/>
                <a:ext cx="4020524" cy="79002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defTabSz="914377" hangingPunct="0"/>
                <a:r>
                  <a:rPr lang="ru-RU" sz="3200" kern="0" dirty="0">
                    <a:solidFill>
                      <a:schemeClr val="tx1"/>
                    </a:solidFill>
                    <a:latin typeface="Calibri"/>
                    <a:cs typeface="Calibri"/>
                    <a:sym typeface="Calibri"/>
                  </a:rPr>
                  <a:t>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bg-BG" sz="3200" i="1" ker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sym typeface="Calibri"/>
                          </a:rPr>
                        </m:ctrlPr>
                      </m:fPr>
                      <m:num>
                        <m:r>
                          <a:rPr lang="en-US" sz="3200" i="1" kern="0">
                            <a:solidFill>
                              <a:schemeClr val="tx1"/>
                            </a:solidFill>
                            <a:latin typeface="Cambria Math" charset="0"/>
                            <a:sym typeface="Calibri"/>
                          </a:rPr>
                          <m:t>1</m:t>
                        </m:r>
                      </m:num>
                      <m:den>
                        <m:r>
                          <a:rPr lang="en-US" sz="3200" i="1" kern="0">
                            <a:solidFill>
                              <a:schemeClr val="tx1"/>
                            </a:solidFill>
                            <a:latin typeface="Cambria Math" charset="0"/>
                            <a:ea typeface="Cambria Math" charset="0"/>
                            <a:cs typeface="Cambria Math" charset="0"/>
                            <a:sym typeface="Calibri"/>
                          </a:rPr>
                          <m:t>ℓ</m:t>
                        </m:r>
                      </m:den>
                    </m:f>
                    <m:nary>
                      <m:naryPr>
                        <m:chr m:val="∑"/>
                        <m:ctrlPr>
                          <a:rPr lang="is-IS" sz="3200" i="1" ker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charset="0"/>
                            <a:cs typeface="Cambria Math" charset="0"/>
                            <a:sym typeface="Calibri"/>
                          </a:rPr>
                        </m:ctrlPr>
                      </m:naryPr>
                      <m:sub>
                        <m:r>
                          <m:rPr>
                            <m:brk m:alnAt="23"/>
                          </m:rPr>
                          <a:rPr lang="en-US" sz="3200" i="1" kern="0">
                            <a:solidFill>
                              <a:schemeClr val="tx1"/>
                            </a:solidFill>
                            <a:latin typeface="Cambria Math" charset="0"/>
                            <a:sym typeface="Calibri"/>
                          </a:rPr>
                          <m:t>𝑖</m:t>
                        </m:r>
                        <m:r>
                          <a:rPr lang="en-US" sz="3200" i="1" kern="0">
                            <a:solidFill>
                              <a:schemeClr val="tx1"/>
                            </a:solidFill>
                            <a:latin typeface="Cambria Math" charset="0"/>
                            <a:sym typeface="Calibri"/>
                          </a:rPr>
                          <m:t>=1</m:t>
                        </m:r>
                      </m:sub>
                      <m:sup>
                        <m:r>
                          <a:rPr lang="en-US" sz="3200" i="1" kern="0">
                            <a:solidFill>
                              <a:schemeClr val="tx1"/>
                            </a:solidFill>
                            <a:latin typeface="Cambria Math" charset="0"/>
                            <a:ea typeface="Cambria Math" charset="0"/>
                            <a:cs typeface="Cambria Math" charset="0"/>
                            <a:sym typeface="Calibri"/>
                          </a:rPr>
                          <m:t>ℓ</m:t>
                        </m:r>
                      </m:sup>
                      <m:e>
                        <m:sSup>
                          <m:sSupPr>
                            <m:ctrlPr>
                              <a:rPr lang="en-US" sz="3200" i="1" ker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Cambria Math" charset="0"/>
                                <a:cs typeface="Cambria Math" charset="0"/>
                                <a:sym typeface="Calibri"/>
                              </a:rPr>
                            </m:ctrlPr>
                          </m:sSupPr>
                          <m:e>
                            <m:d>
                              <m:dPr>
                                <m:ctrlPr>
                                  <a:rPr lang="en-US" sz="3200" i="1" ker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Cambria Math" charset="0"/>
                                    <a:cs typeface="Cambria Math" charset="0"/>
                                    <a:sym typeface="Calibri"/>
                                  </a:rPr>
                                </m:ctrlPr>
                              </m:dPr>
                              <m:e>
                                <m:r>
                                  <a:rPr lang="en-US" sz="3200" b="1" i="1" kern="0">
                                    <a:solidFill>
                                      <a:schemeClr val="tx1"/>
                                    </a:solidFill>
                                    <a:latin typeface="Cambria Math" charset="0"/>
                                    <a:sym typeface="Calibri"/>
                                  </a:rPr>
                                  <m:t>𝒂</m:t>
                                </m:r>
                                <m:sSub>
                                  <m:sSubPr>
                                    <m:ctrlPr>
                                      <a:rPr lang="en-US" sz="3200" i="1" ker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sym typeface="Calibri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3200" i="1" ker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  <a:sym typeface="Calibri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lang="en-US" sz="3200" i="1" ker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  <a:sym typeface="Calibri"/>
                                      </a:rPr>
                                      <m:t>𝑖</m:t>
                                    </m:r>
                                  </m:sub>
                                </m:sSub>
                                <m:r>
                                  <a:rPr lang="en-US" sz="3200" i="1" kern="0">
                                    <a:solidFill>
                                      <a:schemeClr val="tx1"/>
                                    </a:solidFill>
                                    <a:latin typeface="Cambria Math" charset="0"/>
                                    <a:sym typeface="Calibri"/>
                                  </a:rPr>
                                  <m:t>+</m:t>
                                </m:r>
                                <m:r>
                                  <a:rPr lang="en-US" sz="3200" b="1" i="1" kern="0">
                                    <a:solidFill>
                                      <a:schemeClr val="tx1"/>
                                    </a:solidFill>
                                    <a:latin typeface="Cambria Math" charset="0"/>
                                    <a:sym typeface="Calibri"/>
                                  </a:rPr>
                                  <m:t>𝒃</m:t>
                                </m:r>
                                <m:r>
                                  <a:rPr lang="en-US" sz="3200" i="1" kern="0">
                                    <a:solidFill>
                                      <a:schemeClr val="tx1"/>
                                    </a:solidFill>
                                    <a:latin typeface="Cambria Math" charset="0"/>
                                    <a:sym typeface="Calibri"/>
                                  </a:rPr>
                                  <m:t>−</m:t>
                                </m:r>
                                <m:sSub>
                                  <m:sSubPr>
                                    <m:ctrlPr>
                                      <a:rPr lang="en-US" sz="3200" i="1" ker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sym typeface="Calibri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3200" i="1" ker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  <a:sym typeface="Calibri"/>
                                      </a:rPr>
                                      <m:t>𝑦</m:t>
                                    </m:r>
                                  </m:e>
                                  <m:sub>
                                    <m:r>
                                      <a:rPr lang="en-US" sz="3200" i="1" ker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  <a:sym typeface="Calibri"/>
                                      </a:rPr>
                                      <m:t>𝑖</m:t>
                                    </m:r>
                                  </m:sub>
                                </m:sSub>
                              </m:e>
                            </m:d>
                          </m:e>
                          <m:sup>
                            <m:r>
                              <a:rPr lang="en-US" sz="3200" i="1" kern="0">
                                <a:solidFill>
                                  <a:schemeClr val="tx1"/>
                                </a:solidFill>
                                <a:latin typeface="Cambria Math" charset="0"/>
                                <a:sym typeface="Calibri"/>
                              </a:rPr>
                              <m:t>2</m:t>
                            </m:r>
                          </m:sup>
                        </m:sSup>
                      </m:e>
                    </m:nary>
                  </m:oMath>
                </a14:m>
                <a:endParaRPr lang="en-US" sz="3200" kern="0" dirty="0">
                  <a:solidFill>
                    <a:schemeClr val="tx1"/>
                  </a:solidFill>
                  <a:latin typeface="Calibri"/>
                  <a:cs typeface="Calibri"/>
                  <a:sym typeface="Calibri"/>
                </a:endParaRPr>
              </a:p>
            </p:txBody>
          </p:sp>
        </mc:Choice>
        <mc:Fallback xmlns=""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2E7EEA37-D2ED-DA44-8BD1-9A8E2918583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15521" y="5134939"/>
                <a:ext cx="4020524" cy="790024"/>
              </a:xfrm>
              <a:prstGeom prst="rect">
                <a:avLst/>
              </a:prstGeom>
              <a:blipFill>
                <a:blip r:embed="rId7"/>
                <a:stretch>
                  <a:fillRect l="-7547" t="-85714" b="-138095"/>
                </a:stretch>
              </a:blipFill>
            </p:spPr>
            <p:txBody>
              <a:bodyPr/>
              <a:lstStyle/>
              <a:p>
                <a:r>
                  <a:rPr lang="en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7" name="Left Brace 16">
            <a:extLst>
              <a:ext uri="{FF2B5EF4-FFF2-40B4-BE49-F238E27FC236}">
                <a16:creationId xmlns:a16="http://schemas.microsoft.com/office/drawing/2014/main" id="{54CF3670-003F-004C-88D4-2030CC58793B}"/>
              </a:ext>
            </a:extLst>
          </p:cNvPr>
          <p:cNvSpPr/>
          <p:nvPr/>
        </p:nvSpPr>
        <p:spPr>
          <a:xfrm rot="16200000">
            <a:off x="8371296" y="5224571"/>
            <a:ext cx="190779" cy="1354991"/>
          </a:xfrm>
          <a:prstGeom prst="leftBrace">
            <a:avLst>
              <a:gd name="adj1" fmla="val 82179"/>
              <a:gd name="adj2" fmla="val 50980"/>
            </a:avLst>
          </a:prstGeom>
          <a:ln>
            <a:solidFill>
              <a:srgbClr val="FFC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914377" hangingPunct="0"/>
            <a:endParaRPr lang="en-US" sz="1300" kern="0">
              <a:latin typeface="Helvetica"/>
              <a:sym typeface="Calibri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340BA17-4ED9-C242-8F76-2BB61053871D}"/>
              </a:ext>
            </a:extLst>
          </p:cNvPr>
          <p:cNvSpPr/>
          <p:nvPr/>
        </p:nvSpPr>
        <p:spPr>
          <a:xfrm>
            <a:off x="7914978" y="5957106"/>
            <a:ext cx="118173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377" hangingPunct="0"/>
            <a:r>
              <a:rPr lang="ru-RU" sz="2400" kern="0" dirty="0">
                <a:latin typeface="Calibri"/>
                <a:cs typeface="Calibri"/>
                <a:sym typeface="Calibri"/>
              </a:rPr>
              <a:t>модель</a:t>
            </a:r>
            <a:endParaRPr lang="en-US" sz="2400" kern="0" dirty="0">
              <a:latin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7386871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B986C48-7AD3-9A45-A884-F588F39123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377" hangingPunct="0"/>
            <a:fld id="{7DB1B327-4D8B-4363-B1F2-9ED0E4F4AAE4}" type="slidenum">
              <a:rPr lang="ru-RU" sz="1733" kern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pPr defTabSz="914377" hangingPunct="0"/>
              <a:t>34</a:t>
            </a:fld>
            <a:endParaRPr lang="ru-RU" sz="1733" kern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/>
              <a:t>Функционал ошибки</a:t>
            </a:r>
            <a:endParaRPr lang="ru-RU" dirty="0"/>
          </a:p>
        </p:txBody>
      </p:sp>
      <p:grpSp>
        <p:nvGrpSpPr>
          <p:cNvPr id="13" name="Group 12"/>
          <p:cNvGrpSpPr/>
          <p:nvPr/>
        </p:nvGrpSpPr>
        <p:grpSpPr>
          <a:xfrm>
            <a:off x="2844801" y="1073779"/>
            <a:ext cx="5791200" cy="3689500"/>
            <a:chOff x="2844801" y="1073778"/>
            <a:chExt cx="5791200" cy="3689500"/>
          </a:xfrm>
        </p:grpSpPr>
        <p:pic>
          <p:nvPicPr>
            <p:cNvPr id="27650" name="Picture 2"/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1818" b="5145"/>
            <a:stretch/>
          </p:blipFill>
          <p:spPr bwMode="auto">
            <a:xfrm>
              <a:off x="2844801" y="1073778"/>
              <a:ext cx="5791200" cy="36895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6" name="Rectangle 5"/>
                <p:cNvSpPr/>
                <p:nvPr/>
              </p:nvSpPr>
              <p:spPr>
                <a:xfrm>
                  <a:off x="7789189" y="3986849"/>
                  <a:ext cx="441146" cy="461665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defTabSz="914377" hangingPunct="0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2400" b="1" i="1" kern="0">
                            <a:solidFill>
                              <a:srgbClr val="C00000"/>
                            </a:solidFill>
                            <a:latin typeface="Cambria Math" charset="0"/>
                            <a:sym typeface="Calibri"/>
                          </a:rPr>
                          <m:t>𝒃</m:t>
                        </m:r>
                      </m:oMath>
                    </m:oMathPara>
                  </a14:m>
                  <a:endParaRPr lang="en-US" sz="2000" kern="0" dirty="0">
                    <a:solidFill>
                      <a:srgbClr val="C00000"/>
                    </a:solidFill>
                    <a:latin typeface="Calibri"/>
                    <a:cs typeface="Calibri"/>
                    <a:sym typeface="Calibri"/>
                  </a:endParaRPr>
                </a:p>
              </p:txBody>
            </p:sp>
          </mc:Choice>
          <mc:Fallback xmlns="">
            <p:sp>
              <p:nvSpPr>
                <p:cNvPr id="6" name="Rectangle 5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789189" y="3986849"/>
                  <a:ext cx="441146" cy="461665"/>
                </a:xfrm>
                <a:prstGeom prst="rect">
                  <a:avLst/>
                </a:prstGeom>
                <a:blipFill>
                  <a:blip r:embed="rId5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ru-RU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7" name="Rectangle 6"/>
            <p:cNvSpPr/>
            <p:nvPr/>
          </p:nvSpPr>
          <p:spPr>
            <a:xfrm>
              <a:off x="3486498" y="1238878"/>
              <a:ext cx="750526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4377" hangingPunct="0"/>
              <a:r>
                <a:rPr lang="en-US" sz="2400" b="1" kern="0" dirty="0">
                  <a:solidFill>
                    <a:srgbClr val="000000"/>
                  </a:solidFill>
                  <a:latin typeface="Calibri"/>
                  <a:cs typeface="Calibri"/>
                  <a:sym typeface="Calibri"/>
                </a:rPr>
                <a:t>MSE</a:t>
              </a:r>
            </a:p>
          </p:txBody>
        </p:sp>
      </p:grpSp>
      <p:sp>
        <p:nvSpPr>
          <p:cNvPr id="12" name="Oval 11"/>
          <p:cNvSpPr/>
          <p:nvPr/>
        </p:nvSpPr>
        <p:spPr>
          <a:xfrm>
            <a:off x="5585653" y="3879553"/>
            <a:ext cx="585216" cy="56896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 hangingPunct="0"/>
            <a:endParaRPr lang="en-US" sz="2400" kern="0">
              <a:solidFill>
                <a:srgbClr val="FFFFFF"/>
              </a:solidFill>
              <a:latin typeface="Helvetica"/>
              <a:sym typeface="Calibri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8723461" y="2318364"/>
            <a:ext cx="363086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77" hangingPunct="0"/>
            <a:r>
              <a:rPr lang="ru-RU" sz="2400" b="1" kern="0" dirty="0">
                <a:latin typeface="Calibri"/>
                <a:cs typeface="Calibri"/>
                <a:sym typeface="Calibri"/>
              </a:rPr>
              <a:t>Градиентный спуск</a:t>
            </a:r>
            <a:r>
              <a:rPr lang="ru-RU" sz="2400" kern="0" dirty="0">
                <a:latin typeface="Calibri"/>
                <a:cs typeface="Calibri"/>
                <a:sym typeface="Calibri"/>
              </a:rPr>
              <a:t> - как будто катится мячик по поверхности</a:t>
            </a:r>
            <a:endParaRPr lang="en-US" sz="2400" kern="0" dirty="0">
              <a:latin typeface="Calibri"/>
              <a:cs typeface="Calibri"/>
              <a:sym typeface="Calibri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87D2ED37-CB74-4D48-92EE-9CA74842ED82}"/>
                  </a:ext>
                </a:extLst>
              </p:cNvPr>
              <p:cNvSpPr txBox="1"/>
              <p:nvPr/>
            </p:nvSpPr>
            <p:spPr>
              <a:xfrm>
                <a:off x="1645643" y="5232656"/>
                <a:ext cx="4435830" cy="52322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defTabSz="914377" hangingPunct="0"/>
                <a:r>
                  <a:rPr lang="en-US" sz="2800" kern="0" dirty="0">
                    <a:solidFill>
                      <a:schemeClr val="tx1"/>
                    </a:solidFill>
                    <a:latin typeface="Calibri"/>
                    <a:cs typeface="Calibri"/>
                    <a:sym typeface="Calibri"/>
                  </a:rPr>
                  <a:t>MSE</a:t>
                </a:r>
                <a:r>
                  <a:rPr lang="ru-RU" sz="2800" kern="0" dirty="0">
                    <a:solidFill>
                      <a:schemeClr val="tx1"/>
                    </a:solidFill>
                    <a:latin typeface="Calibri"/>
                    <a:cs typeface="Calibri"/>
                    <a:sym typeface="Calibri"/>
                  </a:rPr>
                  <a:t> при фиксированном </a:t>
                </a:r>
                <a14:m>
                  <m:oMath xmlns:m="http://schemas.openxmlformats.org/officeDocument/2006/math">
                    <m:r>
                      <a:rPr lang="en-US" sz="2800" b="1" i="1" kern="0">
                        <a:solidFill>
                          <a:schemeClr val="tx1"/>
                        </a:solidFill>
                        <a:latin typeface="Cambria Math" charset="0"/>
                        <a:sym typeface="Calibri"/>
                      </a:rPr>
                      <m:t>𝒂</m:t>
                    </m:r>
                  </m:oMath>
                </a14:m>
                <a:r>
                  <a:rPr lang="ru-RU" sz="2800" kern="0" dirty="0">
                    <a:solidFill>
                      <a:schemeClr val="tx1"/>
                    </a:solidFill>
                    <a:latin typeface="Calibri"/>
                    <a:cs typeface="Calibri"/>
                    <a:sym typeface="Calibri"/>
                  </a:rPr>
                  <a:t>:</a:t>
                </a:r>
                <a:endParaRPr lang="en-US" sz="2800" kern="0" dirty="0">
                  <a:solidFill>
                    <a:schemeClr val="tx1"/>
                  </a:solidFill>
                  <a:latin typeface="Calibri"/>
                  <a:cs typeface="Calibri"/>
                  <a:sym typeface="Calibri"/>
                </a:endParaRPr>
              </a:p>
            </p:txBody>
          </p:sp>
        </mc:Choice>
        <mc:Fallback xmlns=""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87D2ED37-CB74-4D48-92EE-9CA74842ED8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45643" y="5232656"/>
                <a:ext cx="4435830" cy="523220"/>
              </a:xfrm>
              <a:prstGeom prst="rect">
                <a:avLst/>
              </a:prstGeom>
              <a:blipFill>
                <a:blip r:embed="rId6"/>
                <a:stretch>
                  <a:fillRect l="-2849" t="-9302" r="-1709" b="-30233"/>
                </a:stretch>
              </a:blipFill>
            </p:spPr>
            <p:txBody>
              <a:bodyPr/>
              <a:lstStyle/>
              <a:p>
                <a:r>
                  <a:rPr lang="en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E1F9CD73-C125-A14A-B168-736DE71064B9}"/>
                  </a:ext>
                </a:extLst>
              </p:cNvPr>
              <p:cNvSpPr/>
              <p:nvPr/>
            </p:nvSpPr>
            <p:spPr>
              <a:xfrm>
                <a:off x="6415521" y="5134939"/>
                <a:ext cx="4020524" cy="79002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defTabSz="914377" hangingPunct="0"/>
                <a:r>
                  <a:rPr lang="ru-RU" sz="3200" kern="0" dirty="0">
                    <a:solidFill>
                      <a:schemeClr val="tx1"/>
                    </a:solidFill>
                    <a:latin typeface="Calibri"/>
                    <a:cs typeface="Calibri"/>
                    <a:sym typeface="Calibri"/>
                  </a:rPr>
                  <a:t>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bg-BG" sz="3200" i="1" ker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sym typeface="Calibri"/>
                          </a:rPr>
                        </m:ctrlPr>
                      </m:fPr>
                      <m:num>
                        <m:r>
                          <a:rPr lang="en-US" sz="3200" i="1" kern="0">
                            <a:solidFill>
                              <a:schemeClr val="tx1"/>
                            </a:solidFill>
                            <a:latin typeface="Cambria Math" charset="0"/>
                            <a:sym typeface="Calibri"/>
                          </a:rPr>
                          <m:t>1</m:t>
                        </m:r>
                      </m:num>
                      <m:den>
                        <m:r>
                          <a:rPr lang="en-US" sz="3200" i="1" kern="0">
                            <a:solidFill>
                              <a:schemeClr val="tx1"/>
                            </a:solidFill>
                            <a:latin typeface="Cambria Math" charset="0"/>
                            <a:ea typeface="Cambria Math" charset="0"/>
                            <a:cs typeface="Cambria Math" charset="0"/>
                            <a:sym typeface="Calibri"/>
                          </a:rPr>
                          <m:t>ℓ</m:t>
                        </m:r>
                      </m:den>
                    </m:f>
                    <m:nary>
                      <m:naryPr>
                        <m:chr m:val="∑"/>
                        <m:ctrlPr>
                          <a:rPr lang="is-IS" sz="3200" i="1" ker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charset="0"/>
                            <a:cs typeface="Cambria Math" charset="0"/>
                            <a:sym typeface="Calibri"/>
                          </a:rPr>
                        </m:ctrlPr>
                      </m:naryPr>
                      <m:sub>
                        <m:r>
                          <m:rPr>
                            <m:brk m:alnAt="23"/>
                          </m:rPr>
                          <a:rPr lang="en-US" sz="3200" i="1" kern="0">
                            <a:solidFill>
                              <a:schemeClr val="tx1"/>
                            </a:solidFill>
                            <a:latin typeface="Cambria Math" charset="0"/>
                            <a:sym typeface="Calibri"/>
                          </a:rPr>
                          <m:t>𝑖</m:t>
                        </m:r>
                        <m:r>
                          <a:rPr lang="en-US" sz="3200" i="1" kern="0">
                            <a:solidFill>
                              <a:schemeClr val="tx1"/>
                            </a:solidFill>
                            <a:latin typeface="Cambria Math" charset="0"/>
                            <a:sym typeface="Calibri"/>
                          </a:rPr>
                          <m:t>=1</m:t>
                        </m:r>
                      </m:sub>
                      <m:sup>
                        <m:r>
                          <a:rPr lang="en-US" sz="3200" i="1" kern="0">
                            <a:solidFill>
                              <a:schemeClr val="tx1"/>
                            </a:solidFill>
                            <a:latin typeface="Cambria Math" charset="0"/>
                            <a:ea typeface="Cambria Math" charset="0"/>
                            <a:cs typeface="Cambria Math" charset="0"/>
                            <a:sym typeface="Calibri"/>
                          </a:rPr>
                          <m:t>ℓ</m:t>
                        </m:r>
                      </m:sup>
                      <m:e>
                        <m:sSup>
                          <m:sSupPr>
                            <m:ctrlPr>
                              <a:rPr lang="en-US" sz="3200" i="1" ker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Cambria Math" charset="0"/>
                                <a:cs typeface="Cambria Math" charset="0"/>
                                <a:sym typeface="Calibri"/>
                              </a:rPr>
                            </m:ctrlPr>
                          </m:sSupPr>
                          <m:e>
                            <m:d>
                              <m:dPr>
                                <m:ctrlPr>
                                  <a:rPr lang="en-US" sz="3200" i="1" ker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Cambria Math" charset="0"/>
                                    <a:cs typeface="Cambria Math" charset="0"/>
                                    <a:sym typeface="Calibri"/>
                                  </a:rPr>
                                </m:ctrlPr>
                              </m:dPr>
                              <m:e>
                                <m:r>
                                  <a:rPr lang="en-US" sz="3200" b="1" i="1" kern="0">
                                    <a:solidFill>
                                      <a:schemeClr val="tx1"/>
                                    </a:solidFill>
                                    <a:latin typeface="Cambria Math" charset="0"/>
                                    <a:sym typeface="Calibri"/>
                                  </a:rPr>
                                  <m:t>𝒂</m:t>
                                </m:r>
                                <m:sSub>
                                  <m:sSubPr>
                                    <m:ctrlPr>
                                      <a:rPr lang="en-US" sz="3200" i="1" ker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sym typeface="Calibri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3200" i="1" ker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  <a:sym typeface="Calibri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lang="en-US" sz="3200" i="1" ker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  <a:sym typeface="Calibri"/>
                                      </a:rPr>
                                      <m:t>𝑖</m:t>
                                    </m:r>
                                  </m:sub>
                                </m:sSub>
                                <m:r>
                                  <a:rPr lang="en-US" sz="3200" i="1" kern="0">
                                    <a:solidFill>
                                      <a:schemeClr val="tx1"/>
                                    </a:solidFill>
                                    <a:latin typeface="Cambria Math" charset="0"/>
                                    <a:sym typeface="Calibri"/>
                                  </a:rPr>
                                  <m:t>+</m:t>
                                </m:r>
                                <m:r>
                                  <a:rPr lang="en-US" sz="3200" b="1" i="1" kern="0">
                                    <a:solidFill>
                                      <a:schemeClr val="tx1"/>
                                    </a:solidFill>
                                    <a:latin typeface="Cambria Math" charset="0"/>
                                    <a:sym typeface="Calibri"/>
                                  </a:rPr>
                                  <m:t>𝒃</m:t>
                                </m:r>
                                <m:r>
                                  <a:rPr lang="en-US" sz="3200" i="1" kern="0">
                                    <a:solidFill>
                                      <a:schemeClr val="tx1"/>
                                    </a:solidFill>
                                    <a:latin typeface="Cambria Math" charset="0"/>
                                    <a:sym typeface="Calibri"/>
                                  </a:rPr>
                                  <m:t>−</m:t>
                                </m:r>
                                <m:sSub>
                                  <m:sSubPr>
                                    <m:ctrlPr>
                                      <a:rPr lang="en-US" sz="3200" i="1" ker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sym typeface="Calibri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3200" i="1" ker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  <a:sym typeface="Calibri"/>
                                      </a:rPr>
                                      <m:t>𝑦</m:t>
                                    </m:r>
                                  </m:e>
                                  <m:sub>
                                    <m:r>
                                      <a:rPr lang="en-US" sz="3200" i="1" ker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  <a:sym typeface="Calibri"/>
                                      </a:rPr>
                                      <m:t>𝑖</m:t>
                                    </m:r>
                                  </m:sub>
                                </m:sSub>
                              </m:e>
                            </m:d>
                          </m:e>
                          <m:sup>
                            <m:r>
                              <a:rPr lang="en-US" sz="3200" i="1" kern="0">
                                <a:solidFill>
                                  <a:schemeClr val="tx1"/>
                                </a:solidFill>
                                <a:latin typeface="Cambria Math" charset="0"/>
                                <a:sym typeface="Calibri"/>
                              </a:rPr>
                              <m:t>2</m:t>
                            </m:r>
                          </m:sup>
                        </m:sSup>
                      </m:e>
                    </m:nary>
                  </m:oMath>
                </a14:m>
                <a:endParaRPr lang="en-US" sz="3200" kern="0" dirty="0">
                  <a:solidFill>
                    <a:schemeClr val="tx1"/>
                  </a:solidFill>
                  <a:latin typeface="Calibri"/>
                  <a:cs typeface="Calibri"/>
                  <a:sym typeface="Calibri"/>
                </a:endParaRPr>
              </a:p>
            </p:txBody>
          </p:sp>
        </mc:Choice>
        <mc:Fallback xmlns=""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E1F9CD73-C125-A14A-B168-736DE71064B9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15521" y="5134939"/>
                <a:ext cx="4020524" cy="790024"/>
              </a:xfrm>
              <a:prstGeom prst="rect">
                <a:avLst/>
              </a:prstGeom>
              <a:blipFill>
                <a:blip r:embed="rId7"/>
                <a:stretch>
                  <a:fillRect l="-7547" t="-85714" b="-138095"/>
                </a:stretch>
              </a:blipFill>
            </p:spPr>
            <p:txBody>
              <a:bodyPr/>
              <a:lstStyle/>
              <a:p>
                <a:r>
                  <a:rPr lang="en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6" name="Left Brace 15">
            <a:extLst>
              <a:ext uri="{FF2B5EF4-FFF2-40B4-BE49-F238E27FC236}">
                <a16:creationId xmlns:a16="http://schemas.microsoft.com/office/drawing/2014/main" id="{689EE438-4E01-6044-9CB8-84750939B411}"/>
              </a:ext>
            </a:extLst>
          </p:cNvPr>
          <p:cNvSpPr/>
          <p:nvPr/>
        </p:nvSpPr>
        <p:spPr>
          <a:xfrm rot="16200000">
            <a:off x="8371296" y="5224571"/>
            <a:ext cx="190779" cy="1354991"/>
          </a:xfrm>
          <a:prstGeom prst="leftBrace">
            <a:avLst>
              <a:gd name="adj1" fmla="val 82179"/>
              <a:gd name="adj2" fmla="val 50980"/>
            </a:avLst>
          </a:prstGeom>
          <a:ln>
            <a:solidFill>
              <a:srgbClr val="FFC00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914377" hangingPunct="0"/>
            <a:endParaRPr lang="en-US" sz="1300" kern="0">
              <a:latin typeface="Helvetica"/>
              <a:sym typeface="Calibri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63A9795-24A5-6B42-89C5-40715392EEFE}"/>
              </a:ext>
            </a:extLst>
          </p:cNvPr>
          <p:cNvSpPr/>
          <p:nvPr/>
        </p:nvSpPr>
        <p:spPr>
          <a:xfrm>
            <a:off x="7914978" y="5957106"/>
            <a:ext cx="118173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377" hangingPunct="0"/>
            <a:r>
              <a:rPr lang="ru-RU" sz="2400" kern="0" dirty="0">
                <a:latin typeface="Calibri"/>
                <a:cs typeface="Calibri"/>
                <a:sym typeface="Calibri"/>
              </a:rPr>
              <a:t>модель</a:t>
            </a:r>
            <a:endParaRPr lang="en-US" sz="2400" kern="0" dirty="0">
              <a:latin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5525797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B3F4D8D-B478-E440-B15F-F140914DEB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377" hangingPunct="0"/>
            <a:fld id="{6577F678-53B0-514E-90B2-A89CA67A67A1}" type="slidenum">
              <a:rPr lang="en-US" sz="1733" kern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pPr defTabSz="914377" hangingPunct="0"/>
              <a:t>35</a:t>
            </a:fld>
            <a:endParaRPr lang="en-US" sz="1733" kern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Title 1"/>
              <p:cNvSpPr>
                <a:spLocks noGrp="1"/>
              </p:cNvSpPr>
              <p:nvPr>
                <p:ph type="title"/>
              </p:nvPr>
            </p:nvSpPr>
            <p:spPr/>
            <p:txBody>
              <a:bodyPr>
                <a:normAutofit fontScale="90000"/>
              </a:bodyPr>
              <a:lstStyle/>
              <a:p>
                <a:r>
                  <a:rPr lang="ru-RU" dirty="0"/>
                  <a:t>Величина шага</a:t>
                </a:r>
                <a:r>
                  <a:rPr lang="en-US" dirty="0"/>
                  <a:t> </a:t>
                </a:r>
                <a14:m>
                  <m:oMath xmlns:m="http://schemas.openxmlformats.org/officeDocument/2006/math">
                    <m:r>
                      <a:rPr lang="en-US" i="1">
                        <a:latin typeface="Cambria Math" panose="02040503050406030204" pitchFamily="18" charset="0"/>
                      </a:rPr>
                      <m:t>𝛾</m:t>
                    </m:r>
                  </m:oMath>
                </a14:m>
                <a:endParaRPr lang="en-US" dirty="0"/>
              </a:p>
            </p:txBody>
          </p:sp>
        </mc:Choice>
        <mc:Fallback xmlns="">
          <p:sp>
            <p:nvSpPr>
              <p:cNvPr id="2" name="Title 1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title"/>
              </p:nvPr>
            </p:nvSpPr>
            <p:spPr>
              <a:blipFill>
                <a:blip r:embed="rId3"/>
                <a:stretch>
                  <a:fillRect l="-1739" t="-26531" b="-44898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1" name="Picture 1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320" y="1365875"/>
            <a:ext cx="6020459" cy="4515344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>
          <a:xfrm>
            <a:off x="7370391" y="6356351"/>
            <a:ext cx="418415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377" hangingPunct="0"/>
            <a:r>
              <a:rPr lang="en-US" sz="1200" kern="0" dirty="0">
                <a:solidFill>
                  <a:schemeClr val="bg1"/>
                </a:solidFill>
                <a:latin typeface="Calibri"/>
                <a:cs typeface="Calibri"/>
                <a:sym typeface="Calibri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ackernoon.com/life-is-gradient-descent-880c60ac1be8</a:t>
            </a:r>
            <a:endParaRPr lang="en-US" sz="1200" kern="0" dirty="0">
              <a:solidFill>
                <a:schemeClr val="bg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5" name="Объект 4">
            <a:extLst>
              <a:ext uri="{FF2B5EF4-FFF2-40B4-BE49-F238E27FC236}">
                <a16:creationId xmlns:a16="http://schemas.microsoft.com/office/drawing/2014/main" id="{EA656E9F-0EC9-90E2-9F1F-391108A4866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15886345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08778" y="1365875"/>
            <a:ext cx="5983223" cy="4487416"/>
          </a:xfr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B3F4D8D-B478-E440-B15F-F140914DEB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377" hangingPunct="0"/>
            <a:fld id="{6577F678-53B0-514E-90B2-A89CA67A67A1}" type="slidenum">
              <a:rPr lang="en-US" sz="1733" kern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pPr defTabSz="914377" hangingPunct="0"/>
              <a:t>36</a:t>
            </a:fld>
            <a:endParaRPr lang="en-US" sz="1733" kern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Title 1"/>
              <p:cNvSpPr>
                <a:spLocks noGrp="1"/>
              </p:cNvSpPr>
              <p:nvPr>
                <p:ph type="title"/>
              </p:nvPr>
            </p:nvSpPr>
            <p:spPr/>
            <p:txBody>
              <a:bodyPr>
                <a:normAutofit fontScale="90000"/>
              </a:bodyPr>
              <a:lstStyle/>
              <a:p>
                <a:r>
                  <a:rPr lang="ru-RU" dirty="0"/>
                  <a:t>Величина шага</a:t>
                </a:r>
                <a:r>
                  <a:rPr lang="en-US" dirty="0"/>
                  <a:t> </a:t>
                </a:r>
                <a14:m>
                  <m:oMath xmlns:m="http://schemas.openxmlformats.org/officeDocument/2006/math">
                    <m:r>
                      <a:rPr lang="en-US" i="1">
                        <a:latin typeface="Cambria Math" panose="02040503050406030204" pitchFamily="18" charset="0"/>
                      </a:rPr>
                      <m:t>𝛾</m:t>
                    </m:r>
                  </m:oMath>
                </a14:m>
                <a:endParaRPr lang="en-US" dirty="0"/>
              </a:p>
            </p:txBody>
          </p:sp>
        </mc:Choice>
        <mc:Fallback xmlns="">
          <p:sp>
            <p:nvSpPr>
              <p:cNvPr id="2" name="Title 1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title"/>
              </p:nvPr>
            </p:nvSpPr>
            <p:spPr>
              <a:blipFill>
                <a:blip r:embed="rId3"/>
                <a:stretch>
                  <a:fillRect l="-1739" t="-26531" b="-44898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1" name="Picture 1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320" y="1365875"/>
            <a:ext cx="6020459" cy="4515344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>
          <a:xfrm>
            <a:off x="7370391" y="6356351"/>
            <a:ext cx="418415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377" hangingPunct="0"/>
            <a:r>
              <a:rPr lang="en-US" sz="1200" kern="0" dirty="0">
                <a:solidFill>
                  <a:schemeClr val="bg1"/>
                </a:solidFill>
                <a:latin typeface="Calibri"/>
                <a:cs typeface="Calibri"/>
                <a:sym typeface="Calibri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ackernoon.com/life-is-gradient-descent-880c60ac1be8</a:t>
            </a:r>
            <a:endParaRPr lang="en-US" sz="1200" kern="0" dirty="0">
              <a:solidFill>
                <a:schemeClr val="bg1"/>
              </a:solidFill>
              <a:latin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02671252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11864259" y="6487044"/>
            <a:ext cx="300721" cy="338554"/>
          </a:xfrm>
          <a:prstGeom prst="rect">
            <a:avLst/>
          </a:prstGeom>
        </p:spPr>
        <p:txBody>
          <a:bodyPr/>
          <a:lstStyle/>
          <a:p>
            <a:pPr defTabSz="914377" hangingPunct="0"/>
            <a:fld id="{86CB4B4D-7CA3-9044-876B-883B54F8677D}" type="slidenum">
              <a:rPr lang="uk-UA" kern="0">
                <a:latin typeface="Calibri"/>
                <a:cs typeface="Calibri"/>
                <a:sym typeface="Calibri"/>
              </a:rPr>
              <a:pPr defTabSz="914377" hangingPunct="0"/>
              <a:t>37</a:t>
            </a:fld>
            <a:endParaRPr lang="uk-UA" kern="0">
              <a:latin typeface="Calibri"/>
              <a:cs typeface="Calibri"/>
              <a:sym typeface="Calibri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Демо: линейная регрессия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264" y="1214329"/>
            <a:ext cx="12069717" cy="50290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90846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377" hangingPunct="0"/>
            <a:fld id="{7DB1B327-4D8B-4363-B1F2-9ED0E4F4AAE4}" type="slidenum">
              <a:rPr lang="ru-RU" sz="1733" kern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pPr defTabSz="914377" hangingPunct="0"/>
              <a:t>38</a:t>
            </a:fld>
            <a:endParaRPr lang="ru-RU" sz="1733" kern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Линейная модель для классификации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/>
        </p:nvGraphicFramePr>
        <p:xfrm>
          <a:off x="225015" y="2374900"/>
          <a:ext cx="2057743" cy="369824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68771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8771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8230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609600"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x</a:t>
                      </a:r>
                      <a:r>
                        <a:rPr lang="en-US" sz="3200" baseline="-25000" dirty="0"/>
                        <a:t>1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x</a:t>
                      </a:r>
                      <a:r>
                        <a:rPr lang="en-US" sz="3200" baseline="-25000" dirty="0"/>
                        <a:t>2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y</a:t>
                      </a:r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72160">
                <a:tc>
                  <a:txBody>
                    <a:bodyPr/>
                    <a:lstStyle/>
                    <a:p>
                      <a:pPr algn="ctr"/>
                      <a:r>
                        <a:rPr lang="en-US" sz="2100" dirty="0"/>
                        <a:t>180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100" dirty="0"/>
                        <a:t>5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100" dirty="0"/>
                        <a:t>М</a:t>
                      </a:r>
                      <a:endParaRPr lang="en-US" sz="2100" dirty="0"/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72160">
                <a:tc>
                  <a:txBody>
                    <a:bodyPr/>
                    <a:lstStyle/>
                    <a:p>
                      <a:pPr algn="ctr"/>
                      <a:r>
                        <a:rPr lang="ru-RU" sz="2100" dirty="0"/>
                        <a:t>170</a:t>
                      </a:r>
                      <a:endParaRPr lang="en-US" sz="2100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100" dirty="0"/>
                        <a:t>20</a:t>
                      </a:r>
                      <a:endParaRPr lang="en-US" sz="2100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100" dirty="0"/>
                        <a:t>Ж</a:t>
                      </a:r>
                      <a:endParaRPr lang="en-US" sz="2100" dirty="0"/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72160">
                <a:tc>
                  <a:txBody>
                    <a:bodyPr/>
                    <a:lstStyle/>
                    <a:p>
                      <a:pPr algn="ctr"/>
                      <a:r>
                        <a:rPr lang="ru-RU" sz="2100" dirty="0"/>
                        <a:t>160</a:t>
                      </a:r>
                      <a:endParaRPr lang="en-US" sz="2100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100" dirty="0"/>
                        <a:t>5</a:t>
                      </a:r>
                      <a:endParaRPr lang="en-US" sz="2100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100" dirty="0"/>
                        <a:t>М</a:t>
                      </a:r>
                      <a:endParaRPr lang="en-US" sz="2100" dirty="0"/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72160">
                <a:tc>
                  <a:txBody>
                    <a:bodyPr/>
                    <a:lstStyle/>
                    <a:p>
                      <a:pPr algn="ctr"/>
                      <a:r>
                        <a:rPr lang="ru-RU" sz="2100" dirty="0"/>
                        <a:t>190</a:t>
                      </a:r>
                      <a:endParaRPr lang="en-US" sz="2100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100" dirty="0"/>
                        <a:t>30</a:t>
                      </a:r>
                      <a:endParaRPr lang="en-US" sz="2100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100" dirty="0"/>
                        <a:t>?</a:t>
                      </a:r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54275" name="Picture 3" descr="/Users/zian/Library/Group Containers/UBF8T346G9.Office/msoclip1/01/FEC60B71-5E60-2C48-9163-32525284CB6D.png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9217" y="1208411"/>
            <a:ext cx="8229600" cy="5410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9177181" y="3810000"/>
            <a:ext cx="218521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14377" hangingPunct="0"/>
            <a:r>
              <a:rPr lang="ru-RU" sz="2000" kern="0" dirty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t>Модель хорошая?</a:t>
            </a:r>
            <a:endParaRPr lang="en-US" sz="2000" kern="0" dirty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04095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377" hangingPunct="0"/>
            <a:fld id="{7DB1B327-4D8B-4363-B1F2-9ED0E4F4AAE4}" type="slidenum">
              <a:rPr lang="ru-RU" sz="1733" kern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pPr defTabSz="914377" hangingPunct="0"/>
              <a:t>39</a:t>
            </a:fld>
            <a:endParaRPr lang="ru-RU" sz="1733" kern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Линейная модель для классификации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/>
        </p:nvGraphicFramePr>
        <p:xfrm>
          <a:off x="225015" y="2374900"/>
          <a:ext cx="2057743" cy="369824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68771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8771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8230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609600"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x</a:t>
                      </a:r>
                      <a:r>
                        <a:rPr lang="en-US" sz="3200" baseline="-25000" dirty="0"/>
                        <a:t>1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x</a:t>
                      </a:r>
                      <a:r>
                        <a:rPr lang="en-US" sz="3200" baseline="-25000" dirty="0"/>
                        <a:t>2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y</a:t>
                      </a:r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72160">
                <a:tc>
                  <a:txBody>
                    <a:bodyPr/>
                    <a:lstStyle/>
                    <a:p>
                      <a:pPr algn="ctr"/>
                      <a:r>
                        <a:rPr lang="en-US" sz="2100" dirty="0"/>
                        <a:t>180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100" dirty="0"/>
                        <a:t>5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100" dirty="0"/>
                        <a:t>М</a:t>
                      </a:r>
                      <a:endParaRPr lang="en-US" sz="2100" dirty="0"/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72160">
                <a:tc>
                  <a:txBody>
                    <a:bodyPr/>
                    <a:lstStyle/>
                    <a:p>
                      <a:pPr algn="ctr"/>
                      <a:r>
                        <a:rPr lang="ru-RU" sz="2100" dirty="0"/>
                        <a:t>170</a:t>
                      </a:r>
                      <a:endParaRPr lang="en-US" sz="2100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100" dirty="0"/>
                        <a:t>20</a:t>
                      </a:r>
                      <a:endParaRPr lang="en-US" sz="2100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100" dirty="0"/>
                        <a:t>Ж</a:t>
                      </a:r>
                      <a:endParaRPr lang="en-US" sz="2100" dirty="0"/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72160">
                <a:tc>
                  <a:txBody>
                    <a:bodyPr/>
                    <a:lstStyle/>
                    <a:p>
                      <a:pPr algn="ctr"/>
                      <a:r>
                        <a:rPr lang="ru-RU" sz="2100" dirty="0"/>
                        <a:t>160</a:t>
                      </a:r>
                      <a:endParaRPr lang="en-US" sz="2100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100" dirty="0"/>
                        <a:t>5</a:t>
                      </a:r>
                      <a:endParaRPr lang="en-US" sz="2100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100" dirty="0"/>
                        <a:t>М</a:t>
                      </a:r>
                      <a:endParaRPr lang="en-US" sz="2100" dirty="0"/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72160">
                <a:tc>
                  <a:txBody>
                    <a:bodyPr/>
                    <a:lstStyle/>
                    <a:p>
                      <a:pPr algn="ctr"/>
                      <a:r>
                        <a:rPr lang="ru-RU" sz="2100" dirty="0"/>
                        <a:t>190</a:t>
                      </a:r>
                      <a:endParaRPr lang="en-US" sz="2100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100" dirty="0"/>
                        <a:t>30</a:t>
                      </a:r>
                      <a:endParaRPr lang="en-US" sz="2100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100" dirty="0"/>
                        <a:t>?</a:t>
                      </a:r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55297" name="Picture 1" descr="/Users/zian/Library/Group Containers/UBF8T346G9.Office/msoclip1/01/B405AD34-FEC5-9142-AD74-81F7BBC776C9.png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7925" y="1193800"/>
            <a:ext cx="7264400" cy="5410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3050381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2" name="Shape 262"/>
          <p:cNvSpPr>
            <a:spLocks noGrp="1"/>
          </p:cNvSpPr>
          <p:nvPr>
            <p:ph idx="1"/>
          </p:nvPr>
        </p:nvSpPr>
        <p:spPr>
          <a:xfrm>
            <a:off x="236516" y="1508371"/>
            <a:ext cx="10949225" cy="2600035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 sz="1600"/>
            </a:pPr>
            <a:r>
              <a:rPr lang="ru-RU" sz="2800" dirty="0"/>
              <a:t>Известны характеристики квартир в Москве</a:t>
            </a:r>
          </a:p>
          <a:p>
            <a:pPr>
              <a:defRPr sz="1600"/>
            </a:pPr>
            <a:r>
              <a:rPr lang="ru-RU" sz="2800" dirty="0"/>
              <a:t>Как по характеристикам определить рыночную стоимость квартиры?</a:t>
            </a:r>
            <a:endParaRPr sz="280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6023446" y="8705816"/>
            <a:ext cx="196527" cy="338554"/>
          </a:xfrm>
        </p:spPr>
        <p:txBody>
          <a:bodyPr/>
          <a:lstStyle/>
          <a:p>
            <a:pPr marL="0" marR="0" lvl="0" indent="0" algn="r" defTabSz="91437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lang="uk-UA" sz="1600" b="0" i="0" u="none" strike="noStrike" kern="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r" defTabSz="914377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uk-UA" sz="16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261" name="Shape 26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>
            <a:lvl1pPr defTabSz="813816">
              <a:defRPr sz="1958"/>
            </a:lvl1pPr>
          </a:lstStyle>
          <a:p>
            <a:pPr defTabSz="1219170"/>
            <a:r>
              <a:rPr sz="3400" dirty="0" err="1"/>
              <a:t>Пример</a:t>
            </a:r>
            <a:r>
              <a:rPr sz="3400" dirty="0"/>
              <a:t> </a:t>
            </a:r>
            <a:r>
              <a:rPr sz="3400" dirty="0" err="1"/>
              <a:t>задачи</a:t>
            </a:r>
            <a:endParaRPr sz="34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D0EECA2-9D28-E040-97B2-640993B780E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00977" y="3710262"/>
            <a:ext cx="4611187" cy="2695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829579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377" hangingPunct="0"/>
            <a:fld id="{7DB1B327-4D8B-4363-B1F2-9ED0E4F4AAE4}" type="slidenum">
              <a:rPr lang="ru-RU" sz="1733" kern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pPr defTabSz="914377" hangingPunct="0"/>
              <a:t>40</a:t>
            </a:fld>
            <a:endParaRPr lang="ru-RU" sz="1733" kern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Уверенность в предсказании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/>
        </p:nvGraphicFramePr>
        <p:xfrm>
          <a:off x="225015" y="2374900"/>
          <a:ext cx="2057743" cy="369824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68771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8771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8230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609600"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x</a:t>
                      </a:r>
                      <a:r>
                        <a:rPr lang="en-US" sz="3200" baseline="-25000" dirty="0"/>
                        <a:t>1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x</a:t>
                      </a:r>
                      <a:r>
                        <a:rPr lang="en-US" sz="3200" baseline="-25000" dirty="0"/>
                        <a:t>2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y</a:t>
                      </a:r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72160">
                <a:tc>
                  <a:txBody>
                    <a:bodyPr/>
                    <a:lstStyle/>
                    <a:p>
                      <a:pPr algn="ctr"/>
                      <a:r>
                        <a:rPr lang="en-US" sz="2100" dirty="0"/>
                        <a:t>180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100" dirty="0"/>
                        <a:t>5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100" dirty="0"/>
                        <a:t>М</a:t>
                      </a:r>
                      <a:endParaRPr lang="en-US" sz="2100" dirty="0"/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72160">
                <a:tc>
                  <a:txBody>
                    <a:bodyPr/>
                    <a:lstStyle/>
                    <a:p>
                      <a:pPr algn="ctr"/>
                      <a:r>
                        <a:rPr lang="ru-RU" sz="2100" dirty="0"/>
                        <a:t>170</a:t>
                      </a:r>
                      <a:endParaRPr lang="en-US" sz="2100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100" dirty="0"/>
                        <a:t>20</a:t>
                      </a:r>
                      <a:endParaRPr lang="en-US" sz="2100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100" dirty="0"/>
                        <a:t>Ж</a:t>
                      </a:r>
                      <a:endParaRPr lang="en-US" sz="2100" dirty="0"/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72160">
                <a:tc>
                  <a:txBody>
                    <a:bodyPr/>
                    <a:lstStyle/>
                    <a:p>
                      <a:pPr algn="ctr"/>
                      <a:r>
                        <a:rPr lang="ru-RU" sz="2100" dirty="0"/>
                        <a:t>160</a:t>
                      </a:r>
                      <a:endParaRPr lang="en-US" sz="2100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100" dirty="0"/>
                        <a:t>5</a:t>
                      </a:r>
                      <a:endParaRPr lang="en-US" sz="2100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100" dirty="0"/>
                        <a:t>М</a:t>
                      </a:r>
                      <a:endParaRPr lang="en-US" sz="2100" dirty="0"/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72160">
                <a:tc>
                  <a:txBody>
                    <a:bodyPr/>
                    <a:lstStyle/>
                    <a:p>
                      <a:pPr algn="ctr"/>
                      <a:r>
                        <a:rPr lang="ru-RU" sz="2100" dirty="0"/>
                        <a:t>190</a:t>
                      </a:r>
                      <a:endParaRPr lang="en-US" sz="2100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100" dirty="0"/>
                        <a:t>30</a:t>
                      </a:r>
                      <a:endParaRPr lang="en-US" sz="2100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100" dirty="0"/>
                        <a:t>?</a:t>
                      </a:r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54275" name="Picture 3" descr="/Users/zian/Library/Group Containers/UBF8T346G9.Office/msoclip1/01/FEC60B71-5E60-2C48-9163-32525284CB6D.png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9217" y="1208411"/>
            <a:ext cx="8229600" cy="5410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/>
        </p:nvSpPr>
        <p:spPr>
          <a:xfrm rot="1301661">
            <a:off x="5993801" y="1287222"/>
            <a:ext cx="525089" cy="4510007"/>
          </a:xfrm>
          <a:prstGeom prst="rect">
            <a:avLst/>
          </a:prstGeom>
          <a:solidFill>
            <a:srgbClr val="F5F141">
              <a:alpha val="41961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 hangingPunct="0"/>
            <a:endParaRPr lang="en-US" sz="1300" kern="0">
              <a:solidFill>
                <a:srgbClr val="FFFFFF"/>
              </a:solidFill>
              <a:latin typeface="Helvetica"/>
              <a:sym typeface="Calibri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7145654" y="928708"/>
            <a:ext cx="165141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77" hangingPunct="0"/>
            <a:r>
              <a:rPr lang="ru-RU" sz="2400" kern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t>Маленькая</a:t>
            </a:r>
            <a:endParaRPr lang="en-US" sz="2400" kern="0" dirty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4" name="Rectangle 13"/>
          <p:cNvSpPr/>
          <p:nvPr/>
        </p:nvSpPr>
        <p:spPr>
          <a:xfrm rot="1301661">
            <a:off x="6629148" y="1566927"/>
            <a:ext cx="525089" cy="4510007"/>
          </a:xfrm>
          <a:prstGeom prst="rect">
            <a:avLst/>
          </a:prstGeom>
          <a:solidFill>
            <a:srgbClr val="F5F141">
              <a:alpha val="41961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 hangingPunct="0"/>
            <a:endParaRPr lang="en-US" sz="1300" kern="0">
              <a:solidFill>
                <a:srgbClr val="FFFFFF"/>
              </a:solidFill>
              <a:latin typeface="Helvetica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577493844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377" hangingPunct="0"/>
            <a:fld id="{7DB1B327-4D8B-4363-B1F2-9ED0E4F4AAE4}" type="slidenum">
              <a:rPr lang="ru-RU" sz="1733" kern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pPr defTabSz="914377" hangingPunct="0"/>
              <a:t>41</a:t>
            </a:fld>
            <a:endParaRPr lang="ru-RU" sz="1733" kern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Уверенность в предсказании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/>
        </p:nvGraphicFramePr>
        <p:xfrm>
          <a:off x="225015" y="2374900"/>
          <a:ext cx="2057743" cy="369824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68771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8771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8230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609600"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x</a:t>
                      </a:r>
                      <a:r>
                        <a:rPr lang="en-US" sz="3200" baseline="-25000" dirty="0"/>
                        <a:t>1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x</a:t>
                      </a:r>
                      <a:r>
                        <a:rPr lang="en-US" sz="3200" baseline="-25000" dirty="0"/>
                        <a:t>2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y</a:t>
                      </a:r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72160">
                <a:tc>
                  <a:txBody>
                    <a:bodyPr/>
                    <a:lstStyle/>
                    <a:p>
                      <a:pPr algn="ctr"/>
                      <a:r>
                        <a:rPr lang="en-US" sz="2100" dirty="0"/>
                        <a:t>180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100" dirty="0"/>
                        <a:t>5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100" dirty="0"/>
                        <a:t>М</a:t>
                      </a:r>
                      <a:endParaRPr lang="en-US" sz="2100" dirty="0"/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72160">
                <a:tc>
                  <a:txBody>
                    <a:bodyPr/>
                    <a:lstStyle/>
                    <a:p>
                      <a:pPr algn="ctr"/>
                      <a:r>
                        <a:rPr lang="ru-RU" sz="2100" dirty="0"/>
                        <a:t>170</a:t>
                      </a:r>
                      <a:endParaRPr lang="en-US" sz="2100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100" dirty="0"/>
                        <a:t>20</a:t>
                      </a:r>
                      <a:endParaRPr lang="en-US" sz="2100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100" dirty="0"/>
                        <a:t>Ж</a:t>
                      </a:r>
                      <a:endParaRPr lang="en-US" sz="2100" dirty="0"/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72160">
                <a:tc>
                  <a:txBody>
                    <a:bodyPr/>
                    <a:lstStyle/>
                    <a:p>
                      <a:pPr algn="ctr"/>
                      <a:r>
                        <a:rPr lang="ru-RU" sz="2100" dirty="0"/>
                        <a:t>160</a:t>
                      </a:r>
                      <a:endParaRPr lang="en-US" sz="2100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100" dirty="0"/>
                        <a:t>5</a:t>
                      </a:r>
                      <a:endParaRPr lang="en-US" sz="2100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100" dirty="0"/>
                        <a:t>М</a:t>
                      </a:r>
                      <a:endParaRPr lang="en-US" sz="2100" dirty="0"/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72160">
                <a:tc>
                  <a:txBody>
                    <a:bodyPr/>
                    <a:lstStyle/>
                    <a:p>
                      <a:pPr algn="ctr"/>
                      <a:r>
                        <a:rPr lang="ru-RU" sz="2100" dirty="0"/>
                        <a:t>190</a:t>
                      </a:r>
                      <a:endParaRPr lang="en-US" sz="2100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100" dirty="0"/>
                        <a:t>30</a:t>
                      </a:r>
                      <a:endParaRPr lang="en-US" sz="2100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100" dirty="0"/>
                        <a:t>?</a:t>
                      </a:r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54275" name="Picture 3" descr="/Users/zian/Library/Group Containers/UBF8T346G9.Office/msoclip1/01/FEC60B71-5E60-2C48-9163-32525284CB6D.png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9217" y="1208411"/>
            <a:ext cx="8229600" cy="5410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/>
        </p:nvSpPr>
        <p:spPr>
          <a:xfrm rot="1301661">
            <a:off x="5008393" y="990441"/>
            <a:ext cx="977196" cy="4510007"/>
          </a:xfrm>
          <a:prstGeom prst="rect">
            <a:avLst/>
          </a:prstGeom>
          <a:solidFill>
            <a:srgbClr val="F5F141">
              <a:alpha val="41961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 hangingPunct="0"/>
            <a:endParaRPr lang="en-US" sz="1300" kern="0">
              <a:solidFill>
                <a:srgbClr val="FFFFFF"/>
              </a:solidFill>
              <a:latin typeface="Helvetica"/>
              <a:sym typeface="Calibri"/>
            </a:endParaRPr>
          </a:p>
        </p:txBody>
      </p:sp>
      <p:sp>
        <p:nvSpPr>
          <p:cNvPr id="8" name="Rectangle 7"/>
          <p:cNvSpPr/>
          <p:nvPr/>
        </p:nvSpPr>
        <p:spPr>
          <a:xfrm rot="1301661">
            <a:off x="7184878" y="1815967"/>
            <a:ext cx="931847" cy="4510007"/>
          </a:xfrm>
          <a:prstGeom prst="rect">
            <a:avLst/>
          </a:prstGeom>
          <a:solidFill>
            <a:srgbClr val="F5F141">
              <a:alpha val="41961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 hangingPunct="0"/>
            <a:endParaRPr lang="en-US" sz="1300" kern="0">
              <a:solidFill>
                <a:srgbClr val="FFFFFF"/>
              </a:solidFill>
              <a:latin typeface="Helvetica"/>
              <a:sym typeface="Calibri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988151" y="807128"/>
            <a:ext cx="133081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77" hangingPunct="0"/>
            <a:r>
              <a:rPr lang="ru-RU" sz="2400" kern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t>Большая</a:t>
            </a:r>
            <a:endParaRPr lang="en-US" sz="2400" kern="0" dirty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501555514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5919252" y="8705816"/>
            <a:ext cx="300721" cy="338554"/>
          </a:xfrm>
          <a:prstGeom prst="rect">
            <a:avLst/>
          </a:prstGeom>
        </p:spPr>
        <p:txBody>
          <a:bodyPr/>
          <a:lstStyle/>
          <a:p>
            <a:pPr defTabSz="914377" hangingPunct="0"/>
            <a:fld id="{B3A57BD6-71FE-407A-A1B7-9E4112267E3D}" type="slidenum">
              <a:rPr lang="ru-RU" kern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pPr defTabSz="914377" hangingPunct="0"/>
              <a:t>42</a:t>
            </a:fld>
            <a:endParaRPr lang="ru-RU" kern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Линейные модели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504283" y="1220755"/>
            <a:ext cx="11064325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 hangingPunct="0"/>
            <a:r>
              <a:rPr lang="ru-RU" sz="2400" b="1" kern="0" dirty="0">
                <a:latin typeface="Calibri"/>
                <a:cs typeface="Calibri"/>
                <a:sym typeface="Calibri"/>
              </a:rPr>
              <a:t>Линейная модель </a:t>
            </a:r>
            <a:r>
              <a:rPr lang="ru-RU" sz="2400" kern="0" dirty="0">
                <a:latin typeface="Calibri"/>
                <a:cs typeface="Calibri"/>
                <a:sym typeface="Calibri"/>
              </a:rPr>
              <a:t>в общем виде суммирует значения всех признаков с некоторыми весами</a:t>
            </a:r>
          </a:p>
          <a:p>
            <a:pPr defTabSz="914377" hangingPunct="0"/>
            <a:r>
              <a:rPr lang="ru-RU" sz="2400" b="1" kern="0" dirty="0">
                <a:latin typeface="Calibri"/>
                <a:cs typeface="Calibri"/>
                <a:sym typeface="Calibri"/>
              </a:rPr>
              <a:t>Веса при признаках </a:t>
            </a:r>
            <a:r>
              <a:rPr lang="ru-RU" sz="2400" kern="0" dirty="0">
                <a:latin typeface="Calibri"/>
                <a:cs typeface="Calibri"/>
                <a:sym typeface="Calibri"/>
              </a:rPr>
              <a:t>— параметры, которые необходимо настраивать в процессе обучения</a:t>
            </a:r>
          </a:p>
          <a:p>
            <a:pPr marL="380990" indent="-380990" defTabSz="914377" hangingPunct="0">
              <a:buFont typeface="Arial" charset="0"/>
              <a:buChar char="•"/>
            </a:pPr>
            <a:endParaRPr lang="ru-RU" sz="2400" kern="0" dirty="0">
              <a:latin typeface="Calibri"/>
              <a:cs typeface="Calibri"/>
              <a:sym typeface="Calibri"/>
            </a:endParaRPr>
          </a:p>
          <a:p>
            <a:pPr defTabSz="914377" hangingPunct="0"/>
            <a:r>
              <a:rPr lang="ru-RU" sz="2400" b="1" kern="0" dirty="0">
                <a:latin typeface="Calibri"/>
                <a:cs typeface="Calibri"/>
                <a:sym typeface="Calibri"/>
              </a:rPr>
              <a:t>Плюсы:</a:t>
            </a:r>
          </a:p>
          <a:p>
            <a:pPr marL="380990" indent="-380990" defTabSz="914377" hangingPunct="0">
              <a:buFont typeface="Arial" charset="0"/>
              <a:buChar char="•"/>
            </a:pPr>
            <a:r>
              <a:rPr lang="ru-RU" sz="2400" kern="0" dirty="0">
                <a:latin typeface="Calibri"/>
                <a:cs typeface="Calibri"/>
                <a:sym typeface="Calibri"/>
              </a:rPr>
              <a:t>Линейные модели способны обучаться на сверхбольших выборках</a:t>
            </a:r>
          </a:p>
          <a:p>
            <a:pPr marL="380990" indent="-380990" defTabSz="914377" hangingPunct="0">
              <a:buFont typeface="Arial" charset="0"/>
              <a:buChar char="•"/>
            </a:pPr>
            <a:r>
              <a:rPr lang="ru-RU" sz="2400" kern="0" dirty="0">
                <a:latin typeface="Calibri"/>
                <a:cs typeface="Calibri"/>
                <a:sym typeface="Calibri"/>
              </a:rPr>
              <a:t>Могут работать на данных с большим количеством признаков (например, на текстах)</a:t>
            </a:r>
          </a:p>
          <a:p>
            <a:pPr marL="380990" indent="-380990" defTabSz="914377" hangingPunct="0">
              <a:buFont typeface="Arial" charset="0"/>
              <a:buChar char="•"/>
            </a:pPr>
            <a:r>
              <a:rPr lang="ru-RU" sz="2400" kern="0" dirty="0">
                <a:latin typeface="Calibri"/>
                <a:cs typeface="Calibri"/>
                <a:sym typeface="Calibri"/>
              </a:rPr>
              <a:t>Хорошо интерпретируются</a:t>
            </a:r>
          </a:p>
          <a:p>
            <a:pPr marL="380990" indent="-380990" defTabSz="914377" hangingPunct="0">
              <a:buFont typeface="Arial" charset="0"/>
              <a:buChar char="•"/>
            </a:pPr>
            <a:endParaRPr lang="ru-RU" sz="2400" kern="0" dirty="0">
              <a:latin typeface="Calibri"/>
              <a:cs typeface="Calibri"/>
              <a:sym typeface="Calibri"/>
            </a:endParaRPr>
          </a:p>
          <a:p>
            <a:pPr defTabSz="914377" hangingPunct="0"/>
            <a:r>
              <a:rPr lang="ru-RU" sz="2400" b="1" kern="0" dirty="0">
                <a:latin typeface="Calibri"/>
                <a:cs typeface="Calibri"/>
                <a:sym typeface="Calibri"/>
              </a:rPr>
              <a:t>Минусы:</a:t>
            </a:r>
            <a:endParaRPr lang="en-US" sz="2400" b="1" kern="0" dirty="0">
              <a:latin typeface="Calibri"/>
              <a:cs typeface="Calibri"/>
              <a:sym typeface="Calibri"/>
            </a:endParaRPr>
          </a:p>
          <a:p>
            <a:pPr marL="380990" indent="-380990" defTabSz="914377" hangingPunct="0">
              <a:buFont typeface="Arial" charset="0"/>
              <a:buChar char="•"/>
            </a:pPr>
            <a:r>
              <a:rPr lang="ru-RU" sz="2400" kern="0" dirty="0">
                <a:latin typeface="Calibri"/>
                <a:cs typeface="Calibri"/>
                <a:sym typeface="Calibri"/>
              </a:rPr>
              <a:t>Могут восстанавливать лишь линейные закономерности</a:t>
            </a:r>
            <a:endParaRPr lang="en-US" sz="2400" kern="0" dirty="0">
              <a:latin typeface="Calibri"/>
              <a:cs typeface="Calibri"/>
              <a:sym typeface="Calibri"/>
            </a:endParaRPr>
          </a:p>
          <a:p>
            <a:pPr marL="380990" indent="-380990" defTabSz="914377" hangingPunct="0">
              <a:buFont typeface="Arial" charset="0"/>
              <a:buChar char="•"/>
            </a:pPr>
            <a:endParaRPr lang="en-US" sz="2400" kern="0" dirty="0">
              <a:latin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7805214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b="1" dirty="0">
                <a:latin typeface="Calibri" charset="0"/>
                <a:ea typeface="Calibri" charset="0"/>
                <a:cs typeface="Calibri" charset="0"/>
              </a:rPr>
              <a:t>Объект</a:t>
            </a:r>
            <a:r>
              <a:rPr lang="ru-RU" dirty="0">
                <a:latin typeface="Calibri" charset="0"/>
                <a:ea typeface="Calibri" charset="0"/>
                <a:cs typeface="Calibri" charset="0"/>
              </a:rPr>
              <a:t> —</a:t>
            </a:r>
            <a:r>
              <a:rPr lang="ru-RU" i="1" dirty="0"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ru-RU" dirty="0">
                <a:latin typeface="Calibri" charset="0"/>
                <a:ea typeface="Calibri" charset="0"/>
                <a:cs typeface="Calibri" charset="0"/>
              </a:rPr>
              <a:t>для чего хотим делать предсказания</a:t>
            </a:r>
          </a:p>
          <a:p>
            <a:pPr lvl="1"/>
            <a:r>
              <a:rPr lang="ru-RU" dirty="0">
                <a:latin typeface="Calibri" charset="0"/>
                <a:ea typeface="Calibri" charset="0"/>
                <a:cs typeface="Calibri" charset="0"/>
              </a:rPr>
              <a:t>Конкретная квартира</a:t>
            </a:r>
          </a:p>
          <a:p>
            <a:r>
              <a:rPr lang="ru-RU" dirty="0">
                <a:latin typeface="Calibri" charset="0"/>
                <a:ea typeface="Calibri" charset="0"/>
                <a:cs typeface="Calibri" charset="0"/>
              </a:rPr>
              <a:t>Ответ, </a:t>
            </a:r>
            <a:r>
              <a:rPr lang="ru-RU" b="1" dirty="0">
                <a:latin typeface="Calibri" charset="0"/>
                <a:ea typeface="Calibri" charset="0"/>
                <a:cs typeface="Calibri" charset="0"/>
              </a:rPr>
              <a:t>целевая переменная</a:t>
            </a:r>
            <a:r>
              <a:rPr lang="en-US" dirty="0">
                <a:latin typeface="Calibri" charset="0"/>
                <a:ea typeface="Calibri" charset="0"/>
                <a:cs typeface="Calibri" charset="0"/>
              </a:rPr>
              <a:t> — </a:t>
            </a:r>
            <a:r>
              <a:rPr lang="ru-RU" dirty="0">
                <a:latin typeface="Calibri" charset="0"/>
                <a:ea typeface="Calibri" charset="0"/>
                <a:cs typeface="Calibri" charset="0"/>
              </a:rPr>
              <a:t>что предсказываем</a:t>
            </a:r>
          </a:p>
          <a:p>
            <a:pPr lvl="1"/>
            <a:r>
              <a:rPr lang="ru-RU" dirty="0">
                <a:latin typeface="Calibri" charset="0"/>
                <a:ea typeface="Calibri" charset="0"/>
                <a:cs typeface="Calibri" charset="0"/>
              </a:rPr>
              <a:t>Стоимость квартиры</a:t>
            </a:r>
            <a:endParaRPr lang="en-US" dirty="0">
              <a:latin typeface="Calibri" charset="0"/>
              <a:ea typeface="Calibri" charset="0"/>
              <a:cs typeface="Calibri" charset="0"/>
            </a:endParaRPr>
          </a:p>
          <a:p>
            <a:pPr lvl="1"/>
            <a:endParaRPr lang="en-US" dirty="0">
              <a:latin typeface="Calibri" charset="0"/>
              <a:ea typeface="Calibri" charset="0"/>
              <a:cs typeface="Calibri" charset="0"/>
            </a:endParaRPr>
          </a:p>
          <a:p>
            <a:endParaRPr lang="ru-RU" dirty="0"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6023446" y="8705816"/>
            <a:ext cx="196527" cy="338554"/>
          </a:xfrm>
        </p:spPr>
        <p:txBody>
          <a:bodyPr/>
          <a:lstStyle/>
          <a:p>
            <a:pPr marL="0" marR="0" lvl="0" indent="0" algn="r" defTabSz="91437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lang="uk-UA" sz="1600" b="0" i="0" u="none" strike="noStrike" kern="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Calibri"/>
                <a:ea typeface="+mn-ea"/>
                <a:cs typeface="Calibri"/>
                <a:sym typeface="Calibri"/>
              </a:rPr>
              <a:pPr marL="0" marR="0" lvl="0" indent="0" algn="r" defTabSz="914377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uk-UA" sz="16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ea typeface="+mn-ea"/>
              <a:cs typeface="Calibri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Обозначения</a:t>
            </a:r>
            <a:endParaRPr lang="en-US" dirty="0"/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0D99F1D8-ECE3-C04C-A6C1-B0E04F1EB8C3}"/>
              </a:ext>
            </a:extLst>
          </p:cNvPr>
          <p:cNvSpPr/>
          <p:nvPr/>
        </p:nvSpPr>
        <p:spPr>
          <a:xfrm>
            <a:off x="1502979" y="4078014"/>
            <a:ext cx="2921876" cy="1019503"/>
          </a:xfrm>
          <a:prstGeom prst="round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3200" dirty="0"/>
              <a:t>Объект</a:t>
            </a:r>
            <a:endParaRPr lang="en-RU" sz="3200" dirty="0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2E167B25-1AD6-0643-963C-14E4B27EE4FB}"/>
              </a:ext>
            </a:extLst>
          </p:cNvPr>
          <p:cNvSpPr/>
          <p:nvPr/>
        </p:nvSpPr>
        <p:spPr>
          <a:xfrm>
            <a:off x="6637283" y="4078014"/>
            <a:ext cx="2921876" cy="1019503"/>
          </a:xfrm>
          <a:prstGeom prst="round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3200" dirty="0"/>
              <a:t>Ответ</a:t>
            </a:r>
            <a:endParaRPr lang="en-RU" sz="3200" dirty="0"/>
          </a:p>
        </p:txBody>
      </p:sp>
      <p:sp>
        <p:nvSpPr>
          <p:cNvPr id="8" name="Right Arrow 7">
            <a:extLst>
              <a:ext uri="{FF2B5EF4-FFF2-40B4-BE49-F238E27FC236}">
                <a16:creationId xmlns:a16="http://schemas.microsoft.com/office/drawing/2014/main" id="{0CBE7239-80E4-7141-A0B9-EDF626741737}"/>
              </a:ext>
            </a:extLst>
          </p:cNvPr>
          <p:cNvSpPr/>
          <p:nvPr/>
        </p:nvSpPr>
        <p:spPr>
          <a:xfrm>
            <a:off x="4798390" y="4419599"/>
            <a:ext cx="1512656" cy="336331"/>
          </a:xfrm>
          <a:prstGeom prst="rightArrow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23426295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b="1" dirty="0">
                <a:latin typeface="Calibri" charset="0"/>
                <a:ea typeface="Calibri" charset="0"/>
                <a:cs typeface="Calibri" charset="0"/>
              </a:rPr>
              <a:t>Обучающая выборка</a:t>
            </a:r>
            <a:r>
              <a:rPr lang="en-US" dirty="0">
                <a:latin typeface="Calibri" charset="0"/>
                <a:ea typeface="Calibri" charset="0"/>
                <a:cs typeface="Calibri" charset="0"/>
              </a:rPr>
              <a:t> —</a:t>
            </a:r>
            <a:r>
              <a:rPr lang="ru-RU" dirty="0">
                <a:latin typeface="Calibri" charset="0"/>
                <a:ea typeface="Calibri" charset="0"/>
                <a:cs typeface="Calibri" charset="0"/>
              </a:rPr>
              <a:t> набор объектов, для которых известны правильные ответы</a:t>
            </a:r>
            <a:endParaRPr lang="en-US" dirty="0">
              <a:latin typeface="Calibri" charset="0"/>
              <a:ea typeface="Calibri" charset="0"/>
              <a:cs typeface="Calibri" charset="0"/>
            </a:endParaRPr>
          </a:p>
          <a:p>
            <a:pPr lvl="1"/>
            <a:r>
              <a:rPr lang="ru-RU" dirty="0">
                <a:latin typeface="Calibri" charset="0"/>
                <a:ea typeface="Calibri" charset="0"/>
                <a:cs typeface="Calibri" charset="0"/>
              </a:rPr>
              <a:t>Квартиры, для которых известна </a:t>
            </a:r>
            <a:r>
              <a:rPr lang="ru-RU" dirty="0"/>
              <a:t>рыночная</a:t>
            </a:r>
            <a:r>
              <a:rPr lang="ru-RU" dirty="0">
                <a:latin typeface="Calibri" charset="0"/>
                <a:ea typeface="Calibri" charset="0"/>
                <a:cs typeface="Calibri" charset="0"/>
              </a:rPr>
              <a:t> стоимость</a:t>
            </a:r>
          </a:p>
          <a:p>
            <a:endParaRPr lang="ru-RU" dirty="0"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6023446" y="8705816"/>
            <a:ext cx="196527" cy="338554"/>
          </a:xfrm>
        </p:spPr>
        <p:txBody>
          <a:bodyPr/>
          <a:lstStyle/>
          <a:p>
            <a:pPr marL="0" marR="0" lvl="0" indent="0" algn="r" defTabSz="91437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lang="uk-UA" sz="1600" b="0" i="0" u="none" strike="noStrike" kern="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r" defTabSz="914377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uk-UA" sz="16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Обозначения</a:t>
            </a:r>
            <a:endParaRPr lang="en-US" dirty="0"/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6FA37CFE-FD2F-E045-B52A-B6CED28B7476}"/>
              </a:ext>
            </a:extLst>
          </p:cNvPr>
          <p:cNvSpPr/>
          <p:nvPr/>
        </p:nvSpPr>
        <p:spPr>
          <a:xfrm>
            <a:off x="1744716" y="2919248"/>
            <a:ext cx="2921876" cy="1019503"/>
          </a:xfrm>
          <a:prstGeom prst="round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3200" dirty="0"/>
              <a:t>Объект 1</a:t>
            </a:r>
            <a:endParaRPr lang="en-RU" sz="3200" dirty="0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FA29F6C-7382-6C40-ABC4-3F78571F3967}"/>
              </a:ext>
            </a:extLst>
          </p:cNvPr>
          <p:cNvSpPr/>
          <p:nvPr/>
        </p:nvSpPr>
        <p:spPr>
          <a:xfrm>
            <a:off x="6879020" y="2919248"/>
            <a:ext cx="2921876" cy="1019503"/>
          </a:xfrm>
          <a:prstGeom prst="round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3200" dirty="0"/>
              <a:t>Ответ 1</a:t>
            </a:r>
            <a:endParaRPr lang="en-RU" sz="3200" dirty="0"/>
          </a:p>
        </p:txBody>
      </p:sp>
      <p:sp>
        <p:nvSpPr>
          <p:cNvPr id="7" name="Right Arrow 6">
            <a:extLst>
              <a:ext uri="{FF2B5EF4-FFF2-40B4-BE49-F238E27FC236}">
                <a16:creationId xmlns:a16="http://schemas.microsoft.com/office/drawing/2014/main" id="{B9FEC2E5-D04E-514D-95BE-4E7BEFD747CC}"/>
              </a:ext>
            </a:extLst>
          </p:cNvPr>
          <p:cNvSpPr/>
          <p:nvPr/>
        </p:nvSpPr>
        <p:spPr>
          <a:xfrm>
            <a:off x="5040127" y="3260833"/>
            <a:ext cx="1512656" cy="336331"/>
          </a:xfrm>
          <a:prstGeom prst="rightArrow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5421B5AF-E584-E045-8AB9-8B38ADAAE5B5}"/>
              </a:ext>
            </a:extLst>
          </p:cNvPr>
          <p:cNvSpPr/>
          <p:nvPr/>
        </p:nvSpPr>
        <p:spPr>
          <a:xfrm>
            <a:off x="1744716" y="5137884"/>
            <a:ext cx="2921876" cy="1019503"/>
          </a:xfrm>
          <a:prstGeom prst="round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3200" dirty="0"/>
              <a:t>Объект </a:t>
            </a:r>
            <a:r>
              <a:rPr lang="en-US" sz="3200" dirty="0"/>
              <a:t>N</a:t>
            </a:r>
            <a:endParaRPr lang="en-RU" sz="3200" dirty="0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95C3553-76B3-6A4B-9829-BAD6A0FCBE44}"/>
              </a:ext>
            </a:extLst>
          </p:cNvPr>
          <p:cNvSpPr/>
          <p:nvPr/>
        </p:nvSpPr>
        <p:spPr>
          <a:xfrm>
            <a:off x="6879020" y="5137884"/>
            <a:ext cx="2921876" cy="1019503"/>
          </a:xfrm>
          <a:prstGeom prst="round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3200" dirty="0"/>
              <a:t>Ответ </a:t>
            </a:r>
            <a:r>
              <a:rPr lang="en-US" sz="3200" dirty="0"/>
              <a:t>N</a:t>
            </a:r>
            <a:endParaRPr lang="en-RU" sz="3200" dirty="0"/>
          </a:p>
        </p:txBody>
      </p:sp>
      <p:sp>
        <p:nvSpPr>
          <p:cNvPr id="10" name="Right Arrow 9">
            <a:extLst>
              <a:ext uri="{FF2B5EF4-FFF2-40B4-BE49-F238E27FC236}">
                <a16:creationId xmlns:a16="http://schemas.microsoft.com/office/drawing/2014/main" id="{24255DC9-110F-B44D-9636-92F65E5D24FE}"/>
              </a:ext>
            </a:extLst>
          </p:cNvPr>
          <p:cNvSpPr/>
          <p:nvPr/>
        </p:nvSpPr>
        <p:spPr>
          <a:xfrm>
            <a:off x="5040127" y="5479469"/>
            <a:ext cx="1512656" cy="336331"/>
          </a:xfrm>
          <a:prstGeom prst="rightArrow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E4BAFA3-FEE0-D046-B692-11B0045D16A3}"/>
              </a:ext>
            </a:extLst>
          </p:cNvPr>
          <p:cNvSpPr txBox="1"/>
          <p:nvPr/>
        </p:nvSpPr>
        <p:spPr>
          <a:xfrm>
            <a:off x="5562256" y="4245929"/>
            <a:ext cx="46839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RU" sz="3200" dirty="0"/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38395688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sz="2800" dirty="0"/>
              <a:t>Объекты — абстрактные сущности, но компьютеры работают только с числами</a:t>
            </a:r>
          </a:p>
          <a:p>
            <a:r>
              <a:rPr lang="ru-RU" sz="2800" b="1" dirty="0"/>
              <a:t>Признаки</a:t>
            </a:r>
            <a:r>
              <a:rPr lang="ru-RU" sz="2800" dirty="0"/>
              <a:t>, факторы</a:t>
            </a:r>
            <a:r>
              <a:rPr lang="en-US" sz="2800" dirty="0"/>
              <a:t> — </a:t>
            </a:r>
            <a:r>
              <a:rPr lang="ru-RU" sz="2800" dirty="0"/>
              <a:t>числовые характеристики объектов</a:t>
            </a:r>
          </a:p>
          <a:p>
            <a:endParaRPr lang="ru-RU" sz="2800" dirty="0"/>
          </a:p>
          <a:p>
            <a:r>
              <a:rPr lang="ru-RU" sz="2800" b="1" dirty="0"/>
              <a:t>Специалист по анализу данных</a:t>
            </a:r>
            <a:r>
              <a:rPr lang="ru-RU" sz="2800" dirty="0"/>
              <a:t> </a:t>
            </a:r>
            <a:r>
              <a:rPr lang="en-US" sz="2800" dirty="0"/>
              <a:t>— </a:t>
            </a:r>
            <a:r>
              <a:rPr lang="ru-RU" sz="2800" dirty="0"/>
              <a:t>не эксперт в предметной области</a:t>
            </a:r>
          </a:p>
          <a:p>
            <a:r>
              <a:rPr lang="ru-RU" sz="2800" b="1" dirty="0"/>
              <a:t>Эксперты</a:t>
            </a:r>
            <a:r>
              <a:rPr lang="ru-RU" sz="2800" dirty="0"/>
              <a:t> нужны при формировании признаков</a:t>
            </a:r>
          </a:p>
          <a:p>
            <a:endParaRPr lang="ru-RU" sz="2800" dirty="0"/>
          </a:p>
          <a:p>
            <a:endParaRPr lang="en-US" sz="2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Признаки</a:t>
            </a:r>
            <a:endParaRPr lang="en-US" dirty="0"/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C01F1B74-2348-764E-B1CD-326E7C6F5724}"/>
              </a:ext>
            </a:extLst>
          </p:cNvPr>
          <p:cNvSpPr/>
          <p:nvPr/>
        </p:nvSpPr>
        <p:spPr>
          <a:xfrm>
            <a:off x="1786758" y="4340773"/>
            <a:ext cx="2921876" cy="1019503"/>
          </a:xfrm>
          <a:prstGeom prst="round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3200" dirty="0"/>
              <a:t>Объект</a:t>
            </a:r>
            <a:endParaRPr lang="en-RU" sz="3200" dirty="0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9389C040-EE72-9B40-84C7-418B592B56BA}"/>
              </a:ext>
            </a:extLst>
          </p:cNvPr>
          <p:cNvSpPr/>
          <p:nvPr/>
        </p:nvSpPr>
        <p:spPr>
          <a:xfrm>
            <a:off x="6921062" y="4340773"/>
            <a:ext cx="2921876" cy="1019503"/>
          </a:xfrm>
          <a:prstGeom prst="round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3200" dirty="0"/>
              <a:t>Ответ</a:t>
            </a:r>
            <a:endParaRPr lang="en-RU" sz="3200" dirty="0"/>
          </a:p>
        </p:txBody>
      </p:sp>
      <p:sp>
        <p:nvSpPr>
          <p:cNvPr id="7" name="Right Arrow 6">
            <a:extLst>
              <a:ext uri="{FF2B5EF4-FFF2-40B4-BE49-F238E27FC236}">
                <a16:creationId xmlns:a16="http://schemas.microsoft.com/office/drawing/2014/main" id="{FB497080-F5A0-2042-8B09-11B64DBC3C3B}"/>
              </a:ext>
            </a:extLst>
          </p:cNvPr>
          <p:cNvSpPr/>
          <p:nvPr/>
        </p:nvSpPr>
        <p:spPr>
          <a:xfrm rot="19936019">
            <a:off x="5058519" y="5692918"/>
            <a:ext cx="1512656" cy="336331"/>
          </a:xfrm>
          <a:prstGeom prst="rightArrow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155D99BF-C58C-9C45-84B0-8970B7D1AF2F}"/>
              </a:ext>
            </a:extLst>
          </p:cNvPr>
          <p:cNvSpPr/>
          <p:nvPr/>
        </p:nvSpPr>
        <p:spPr>
          <a:xfrm>
            <a:off x="1786758" y="5706504"/>
            <a:ext cx="2921876" cy="1019503"/>
          </a:xfrm>
          <a:prstGeom prst="round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3200" dirty="0"/>
              <a:t>Признаки</a:t>
            </a:r>
            <a:endParaRPr lang="en-RU" sz="3200" dirty="0"/>
          </a:p>
        </p:txBody>
      </p:sp>
      <p:sp>
        <p:nvSpPr>
          <p:cNvPr id="9" name="Right Arrow 8">
            <a:extLst>
              <a:ext uri="{FF2B5EF4-FFF2-40B4-BE49-F238E27FC236}">
                <a16:creationId xmlns:a16="http://schemas.microsoft.com/office/drawing/2014/main" id="{D75E6A13-DEC5-EE44-B115-377B697B4B7D}"/>
              </a:ext>
            </a:extLst>
          </p:cNvPr>
          <p:cNvSpPr/>
          <p:nvPr/>
        </p:nvSpPr>
        <p:spPr>
          <a:xfrm rot="5400000">
            <a:off x="3108263" y="5398906"/>
            <a:ext cx="278865" cy="336331"/>
          </a:xfrm>
          <a:prstGeom prst="rightArrow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8071108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1" name="Shape 281"/>
          <p:cNvSpPr>
            <a:spLocks noGrp="1"/>
          </p:cNvSpPr>
          <p:nvPr>
            <p:ph idx="1"/>
          </p:nvPr>
        </p:nvSpPr>
        <p:spPr>
          <a:prstGeom prst="rect">
            <a:avLst/>
          </a:prstGeom>
        </p:spPr>
        <p:txBody>
          <a:bodyPr/>
          <a:lstStyle/>
          <a:p>
            <a:pPr marL="0" indent="0">
              <a:buSzTx/>
              <a:buNone/>
              <a:defRPr b="1"/>
            </a:pPr>
            <a:r>
              <a:rPr lang="ru-RU" dirty="0"/>
              <a:t>Для задачи про квартиры</a:t>
            </a:r>
            <a:r>
              <a:rPr dirty="0"/>
              <a:t>:</a:t>
            </a:r>
          </a:p>
          <a:p>
            <a:r>
              <a:rPr lang="ru-RU" dirty="0"/>
              <a:t>Свойства квартиры и дома</a:t>
            </a:r>
            <a:r>
              <a:rPr dirty="0"/>
              <a:t>:</a:t>
            </a:r>
            <a:endParaRPr lang="ru-RU" dirty="0"/>
          </a:p>
          <a:p>
            <a:pPr lvl="1"/>
            <a:r>
              <a:rPr lang="ru-RU" dirty="0"/>
              <a:t>Площадь, количество комнат, наличие балкона, жилая площадь</a:t>
            </a:r>
          </a:p>
          <a:p>
            <a:pPr lvl="1"/>
            <a:r>
              <a:rPr lang="ru-RU" dirty="0"/>
              <a:t>Год постройки дома, тип дома, наличие лифта</a:t>
            </a:r>
            <a:endParaRPr dirty="0"/>
          </a:p>
          <a:p>
            <a:r>
              <a:rPr lang="ru-RU" dirty="0"/>
              <a:t>Свойства расположения</a:t>
            </a:r>
            <a:r>
              <a:rPr dirty="0"/>
              <a:t>:</a:t>
            </a:r>
            <a:endParaRPr lang="ru-RU" dirty="0"/>
          </a:p>
          <a:p>
            <a:pPr lvl="1"/>
            <a:r>
              <a:rPr lang="ru-RU" dirty="0"/>
              <a:t>Расстояние до метро, до ближайшего супермаркета, до ближайшего парка, до ближайшей школы, наличие парковок рядом с домом</a:t>
            </a:r>
          </a:p>
          <a:p>
            <a:endParaRPr dirty="0"/>
          </a:p>
        </p:txBody>
      </p:sp>
      <p:sp>
        <p:nvSpPr>
          <p:cNvPr id="280" name="Shape 280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>
            <a:lvl1pPr defTabSz="813816">
              <a:defRPr sz="1958"/>
            </a:lvl1pPr>
          </a:lstStyle>
          <a:p>
            <a:pPr defTabSz="1219170"/>
            <a:r>
              <a:rPr sz="3400" dirty="0" err="1"/>
              <a:t>Признаки</a:t>
            </a:r>
            <a:endParaRPr sz="3400" dirty="0"/>
          </a:p>
        </p:txBody>
      </p:sp>
    </p:spTree>
    <p:extLst>
      <p:ext uri="{BB962C8B-B14F-4D97-AF65-F5344CB8AC3E}">
        <p14:creationId xmlns:p14="http://schemas.microsoft.com/office/powerpoint/2010/main" val="185867742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1" name="Shape 281"/>
          <p:cNvSpPr>
            <a:spLocks noGrp="1"/>
          </p:cNvSpPr>
          <p:nvPr>
            <p:ph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ru-RU" dirty="0"/>
              <a:t>Придумать и собрать качественные признаки — большая задача</a:t>
            </a:r>
          </a:p>
          <a:p>
            <a:r>
              <a:rPr lang="ru-RU" dirty="0"/>
              <a:t>Качество признаков напрямую влияет на качество решения</a:t>
            </a:r>
            <a:endParaRPr dirty="0"/>
          </a:p>
        </p:txBody>
      </p:sp>
      <p:sp>
        <p:nvSpPr>
          <p:cNvPr id="280" name="Shape 280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>
            <a:lvl1pPr defTabSz="813816">
              <a:defRPr sz="1958"/>
            </a:lvl1pPr>
          </a:lstStyle>
          <a:p>
            <a:pPr defTabSz="1219170"/>
            <a:r>
              <a:rPr sz="3400" dirty="0" err="1"/>
              <a:t>Признаки</a:t>
            </a:r>
            <a:endParaRPr sz="3400" dirty="0"/>
          </a:p>
        </p:txBody>
      </p:sp>
    </p:spTree>
    <p:extLst>
      <p:ext uri="{BB962C8B-B14F-4D97-AF65-F5344CB8AC3E}">
        <p14:creationId xmlns:p14="http://schemas.microsoft.com/office/powerpoint/2010/main" val="20873412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6rzrqw4uEW0r_gW98L4B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0CwDrxZEWXr370rvq.c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6rzrqw4uEW0r_gW98L4B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0CwDrxZEWXr370rvq.cA"/>
</p:tagLst>
</file>

<file path=ppt/theme/theme1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3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4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6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2_Тема Office">
  <a:themeElements>
    <a:clrScheme name="Custom 3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20BA70"/>
      </a:accent1>
      <a:accent2>
        <a:srgbClr val="2DC2A7"/>
      </a:accent2>
      <a:accent3>
        <a:srgbClr val="1D6964"/>
      </a:accent3>
      <a:accent4>
        <a:srgbClr val="1DA099"/>
      </a:accent4>
      <a:accent5>
        <a:srgbClr val="208468"/>
      </a:accent5>
      <a:accent6>
        <a:srgbClr val="0F7E8A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3_Тема Office">
  <a:themeElements>
    <a:clrScheme name="Custom 3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20BA70"/>
      </a:accent1>
      <a:accent2>
        <a:srgbClr val="2DC2A7"/>
      </a:accent2>
      <a:accent3>
        <a:srgbClr val="1D6964"/>
      </a:accent3>
      <a:accent4>
        <a:srgbClr val="1DA099"/>
      </a:accent4>
      <a:accent5>
        <a:srgbClr val="208468"/>
      </a:accent5>
      <a:accent6>
        <a:srgbClr val="0F7E8A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1_Тема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576</TotalTime>
  <Words>1197</Words>
  <Application>Microsoft Office PowerPoint</Application>
  <PresentationFormat>Широкоэкранный</PresentationFormat>
  <Paragraphs>415</Paragraphs>
  <Slides>42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9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42</vt:i4>
      </vt:variant>
    </vt:vector>
  </HeadingPairs>
  <TitlesOfParts>
    <vt:vector size="61" baseType="lpstr">
      <vt:lpstr>Arial</vt:lpstr>
      <vt:lpstr>Calibri</vt:lpstr>
      <vt:lpstr>Calibri Light</vt:lpstr>
      <vt:lpstr>Cambria Math</vt:lpstr>
      <vt:lpstr>Courier New</vt:lpstr>
      <vt:lpstr>Helvetica</vt:lpstr>
      <vt:lpstr>SB Sans Display Light</vt:lpstr>
      <vt:lpstr>SB Sans Display Regular</vt:lpstr>
      <vt:lpstr>Wingdings</vt:lpstr>
      <vt:lpstr>Custom Design</vt:lpstr>
      <vt:lpstr>1_Custom Design</vt:lpstr>
      <vt:lpstr>2_Custom Design</vt:lpstr>
      <vt:lpstr>3_Custom Design</vt:lpstr>
      <vt:lpstr>4_Custom Design</vt:lpstr>
      <vt:lpstr>6_Custom Design</vt:lpstr>
      <vt:lpstr>2_Тема Office</vt:lpstr>
      <vt:lpstr>3_Тема Office</vt:lpstr>
      <vt:lpstr>1_Тема Office</vt:lpstr>
      <vt:lpstr>think-cell Slide</vt:lpstr>
      <vt:lpstr>Презентация PowerPoint</vt:lpstr>
      <vt:lpstr>Нормальное распределение</vt:lpstr>
      <vt:lpstr>Нормальное распределение</vt:lpstr>
      <vt:lpstr>Пример задачи</vt:lpstr>
      <vt:lpstr>Обозначения</vt:lpstr>
      <vt:lpstr>Обозначения</vt:lpstr>
      <vt:lpstr>Признаки</vt:lpstr>
      <vt:lpstr>Признаки</vt:lpstr>
      <vt:lpstr>Признаки</vt:lpstr>
      <vt:lpstr>Объект как строчка в таблице</vt:lpstr>
      <vt:lpstr>Алгоритм</vt:lpstr>
      <vt:lpstr>Алгоритм</vt:lpstr>
      <vt:lpstr>Алгоритм</vt:lpstr>
      <vt:lpstr>Алгоритм</vt:lpstr>
      <vt:lpstr>Функция потерь</vt:lpstr>
      <vt:lpstr>Функция потерь</vt:lpstr>
      <vt:lpstr>Обучение алгоритма</vt:lpstr>
      <vt:lpstr>Целевая переменная</vt:lpstr>
      <vt:lpstr>Как понять какие параметры оптимальные?</vt:lpstr>
      <vt:lpstr>Как происходит обучение</vt:lpstr>
      <vt:lpstr>Схема работы машинного обучения</vt:lpstr>
      <vt:lpstr>Обучение алгоритма</vt:lpstr>
      <vt:lpstr>Обучение алгоритма</vt:lpstr>
      <vt:lpstr>Обучение алгоритма</vt:lpstr>
      <vt:lpstr>Обучение алгоритма</vt:lpstr>
      <vt:lpstr>Обучение алгоритма</vt:lpstr>
      <vt:lpstr>Регрессия</vt:lpstr>
      <vt:lpstr>Линейная модель для регрессии</vt:lpstr>
      <vt:lpstr>Линейная модель для регрессии</vt:lpstr>
      <vt:lpstr>Линейная модель для регрессии</vt:lpstr>
      <vt:lpstr>Функционал ошибки</vt:lpstr>
      <vt:lpstr>Функционал ошибки</vt:lpstr>
      <vt:lpstr>Функционал ошибки</vt:lpstr>
      <vt:lpstr>Функционал ошибки</vt:lpstr>
      <vt:lpstr>Величина шага γ</vt:lpstr>
      <vt:lpstr>Величина шага γ</vt:lpstr>
      <vt:lpstr>Демо: линейная регрессия</vt:lpstr>
      <vt:lpstr>Линейная модель для классификации</vt:lpstr>
      <vt:lpstr>Линейная модель для классификации</vt:lpstr>
      <vt:lpstr>Уверенность в предсказании</vt:lpstr>
      <vt:lpstr>Уверенность в предсказании</vt:lpstr>
      <vt:lpstr>Линейные модели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Введение в анализ данных</dc:title>
  <dc:creator>Evgeny Sokolov</dc:creator>
  <cp:lastModifiedBy>Паршаков Петр Андреевич</cp:lastModifiedBy>
  <cp:revision>326</cp:revision>
  <cp:lastPrinted>2016-01-18T22:45:54Z</cp:lastPrinted>
  <dcterms:created xsi:type="dcterms:W3CDTF">2016-01-10T22:08:56Z</dcterms:created>
  <dcterms:modified xsi:type="dcterms:W3CDTF">2025-09-25T06:39:07Z</dcterms:modified>
</cp:coreProperties>
</file>